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6"/>
  </p:notesMasterIdLst>
  <p:sldIdLst>
    <p:sldId id="256" r:id="rId2"/>
    <p:sldId id="956" r:id="rId3"/>
    <p:sldId id="284" r:id="rId4"/>
    <p:sldId id="271" r:id="rId5"/>
    <p:sldId id="957" r:id="rId6"/>
    <p:sldId id="276" r:id="rId7"/>
    <p:sldId id="259" r:id="rId8"/>
    <p:sldId id="285" r:id="rId9"/>
    <p:sldId id="286" r:id="rId10"/>
    <p:sldId id="288" r:id="rId11"/>
    <p:sldId id="290" r:id="rId12"/>
    <p:sldId id="262" r:id="rId13"/>
    <p:sldId id="281" r:id="rId14"/>
    <p:sldId id="282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25E5076-3810-47DD-B79F-674D7AD40C01}" styleName="深色样式 1 - 强调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>
        <p:scale>
          <a:sx n="65" d="100"/>
          <a:sy n="65" d="100"/>
        </p:scale>
        <p:origin x="724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FD42F7-718C-4B98-AAEC-167E6DDD60A7}" type="datetimeFigureOut">
              <a:rPr lang="en-US" smtClean="0"/>
              <a:t>12/1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B2AA4F-B828-4D7C-AFD3-893933DAFCB4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Text Placeholder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58E0FB-417E-476A-B62C-7BFC795AFFB8}" type="datetimeFigureOut">
              <a:rPr lang="en-US" smtClean="0"/>
              <a:t>12/1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E4CB96-990C-405D-A509-72D90C6A42E6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58E0FB-417E-476A-B62C-7BFC795AFFB8}" type="datetimeFigureOut">
              <a:rPr lang="en-US" smtClean="0"/>
              <a:t>12/1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E4CB96-990C-405D-A509-72D90C6A42E6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58E0FB-417E-476A-B62C-7BFC795AFFB8}" type="datetimeFigureOut">
              <a:rPr lang="en-US" smtClean="0"/>
              <a:t>12/1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E4CB96-990C-405D-A509-72D90C6A42E6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pyright" hidden="1"/>
          <p:cNvSpPr txBox="1">
            <a:spLocks noChangeArrowheads="1"/>
          </p:cNvSpPr>
          <p:nvPr userDrawn="1"/>
        </p:nvSpPr>
        <p:spPr bwMode="auto">
          <a:xfrm rot="16200000">
            <a:off x="9486902" y="3933981"/>
            <a:ext cx="5133975" cy="727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  <a:spcAft>
                <a:spcPts val="450"/>
              </a:spcAft>
              <a:defRPr/>
            </a:pPr>
            <a:r>
              <a:rPr lang="en-US" altLang="en-US" sz="525">
                <a:solidFill>
                  <a:srgbClr val="7F7F7F"/>
                </a:solidFill>
                <a:latin typeface="Calibri" panose="020F0502020204030204" pitchFamily="34" charset="0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4" name="FooterSimple" hidden="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6200000">
            <a:off x="10560844" y="5129369"/>
            <a:ext cx="2743200" cy="727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  <a:spcAft>
                <a:spcPts val="450"/>
              </a:spcAft>
              <a:defRPr/>
            </a:pPr>
            <a:r>
              <a:rPr lang="en-US" altLang="en-US" sz="525">
                <a:solidFill>
                  <a:srgbClr val="7F7F7F"/>
                </a:solidFill>
                <a:latin typeface="Calibri" panose="020F0502020204030204" pitchFamily="34" charset="0"/>
                <a:sym typeface="Trebuchet MS" panose="020B0603020202020204" pitchFamily="34" charset="0"/>
              </a:rPr>
              <a:t>20190611 Horticulture pitch v7.pptx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30001" y="622802"/>
            <a:ext cx="10933351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ate Placeholder 56"/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821949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58E0FB-417E-476A-B62C-7BFC795AFFB8}" type="datetimeFigureOut">
              <a:rPr lang="en-US" smtClean="0"/>
              <a:t>12/1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E4CB96-990C-405D-A509-72D90C6A42E6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58E0FB-417E-476A-B62C-7BFC795AFFB8}" type="datetimeFigureOut">
              <a:rPr lang="en-US" smtClean="0"/>
              <a:t>12/1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E4CB96-990C-405D-A509-72D90C6A42E6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58E0FB-417E-476A-B62C-7BFC795AFFB8}" type="datetimeFigureOut">
              <a:rPr lang="en-US" smtClean="0"/>
              <a:t>12/12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E4CB96-990C-405D-A509-72D90C6A42E6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58E0FB-417E-476A-B62C-7BFC795AFFB8}" type="datetimeFigureOut">
              <a:rPr lang="en-US" smtClean="0"/>
              <a:t>12/12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E4CB96-990C-405D-A509-72D90C6A42E6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58E0FB-417E-476A-B62C-7BFC795AFFB8}" type="datetimeFigureOut">
              <a:rPr lang="en-US" smtClean="0"/>
              <a:t>12/12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E4CB96-990C-405D-A509-72D90C6A42E6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58E0FB-417E-476A-B62C-7BFC795AFFB8}" type="datetimeFigureOut">
              <a:rPr lang="en-US" smtClean="0"/>
              <a:t>12/12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E4CB96-990C-405D-A509-72D90C6A42E6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58E0FB-417E-476A-B62C-7BFC795AFFB8}" type="datetimeFigureOut">
              <a:rPr lang="en-US" smtClean="0"/>
              <a:t>12/12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E4CB96-990C-405D-A509-72D90C6A42E6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58E0FB-417E-476A-B62C-7BFC795AFFB8}" type="datetimeFigureOut">
              <a:rPr lang="en-US" smtClean="0"/>
              <a:t>12/12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E4CB96-990C-405D-A509-72D90C6A42E6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58E0FB-417E-476A-B62C-7BFC795AFFB8}" type="datetimeFigureOut">
              <a:rPr lang="en-US" smtClean="0"/>
              <a:t>12/1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E4CB96-990C-405D-A509-72D90C6A42E6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image" Target="../media/image11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3.png"/><Relationship Id="rId5" Type="http://schemas.openxmlformats.org/officeDocument/2006/relationships/image" Target="../media/image1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Relationship Id="rId9" Type="http://schemas.openxmlformats.org/officeDocument/2006/relationships/image" Target="../media/image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3400" y="138568"/>
            <a:ext cx="9725024" cy="1516334"/>
          </a:xfrm>
        </p:spPr>
        <p:txBody>
          <a:bodyPr>
            <a:noAutofit/>
          </a:bodyPr>
          <a:lstStyle/>
          <a:p>
            <a:r>
              <a:rPr lang="en-US" sz="36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shroom Production through </a:t>
            </a:r>
            <a:r>
              <a:rPr lang="en-US" sz="3600" b="1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ncao</a:t>
            </a:r>
            <a:r>
              <a:rPr lang="en-US" sz="36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chnology and its Contribution to Livelihoods Improvement  in Rwanda </a:t>
            </a:r>
          </a:p>
        </p:txBody>
      </p:sp>
      <p:pic>
        <p:nvPicPr>
          <p:cNvPr id="5" name="Picture 4" descr="C:\Users\User\Documents\RAB\RAB Advisor to DG\Logo\Prospectus_new RAB Logo.png">
            <a:extLst>
              <a:ext uri="{FF2B5EF4-FFF2-40B4-BE49-F238E27FC236}">
                <a16:creationId xmlns:a16="http://schemas.microsoft.com/office/drawing/2014/main" id="{2EB97D25-157B-44CC-A1F7-4FBDB578BA3C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8424" y="1002"/>
            <a:ext cx="1933575" cy="179146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A382687-2C2E-4CD5-A5BF-2EAF9B852DCE}"/>
              </a:ext>
            </a:extLst>
          </p:cNvPr>
          <p:cNvSpPr/>
          <p:nvPr/>
        </p:nvSpPr>
        <p:spPr>
          <a:xfrm>
            <a:off x="4080387" y="3173293"/>
            <a:ext cx="7144824" cy="13480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80000"/>
              </a:lnSpc>
            </a:pPr>
            <a:r>
              <a:rPr lang="en-US" altLang="en-US" sz="28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. </a:t>
            </a:r>
            <a:r>
              <a:rPr lang="en-US" altLang="en-US" sz="28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llancile</a:t>
            </a:r>
            <a:r>
              <a:rPr lang="en-US" altLang="en-US" sz="28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zayisenga</a:t>
            </a:r>
          </a:p>
          <a:p>
            <a:pPr algn="just">
              <a:lnSpc>
                <a:spcPct val="80000"/>
              </a:lnSpc>
            </a:pPr>
            <a:r>
              <a:rPr lang="en-US" altLang="en-US" sz="28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wanda Agriculture and Animal Resources Development Board (RAB)</a:t>
            </a:r>
          </a:p>
          <a:p>
            <a:pPr>
              <a:lnSpc>
                <a:spcPct val="80000"/>
              </a:lnSpc>
            </a:pPr>
            <a:endParaRPr lang="en-US" alt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0092AC7-CA62-4C4D-B27B-C606D57992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4287" y="3967687"/>
            <a:ext cx="3324502" cy="187465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D192D01-1188-4AB1-8787-FBC8C25ED9F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14288" y="1753515"/>
            <a:ext cx="3324503" cy="2214172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49F6A64-2335-4203-AD25-8CF91CDF4F54}"/>
              </a:ext>
            </a:extLst>
          </p:cNvPr>
          <p:cNvSpPr/>
          <p:nvPr/>
        </p:nvSpPr>
        <p:spPr>
          <a:xfrm>
            <a:off x="0" y="5657671"/>
            <a:ext cx="12206287" cy="1200329"/>
          </a:xfrm>
          <a:prstGeom prst="rect">
            <a:avLst/>
          </a:prstGeom>
          <a:solidFill>
            <a:srgbClr val="00B050"/>
          </a:solidFill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ond African</a:t>
            </a:r>
            <a:r>
              <a:rPr lang="en-US" sz="2400" b="1" kern="1100" spc="-1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onal Workshop on Applications of </a:t>
            </a:r>
            <a:r>
              <a:rPr lang="en-US" sz="2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ncao</a:t>
            </a:r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chnology and Its Contribution to the Achievement of Sustainable Agriculture and the Sustainable Development Goals in Africa, </a:t>
            </a:r>
            <a:r>
              <a:rPr lang="en-US" altLang="en-US" sz="2400" b="1" dirty="0">
                <a:solidFill>
                  <a:schemeClr val="bg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ddis Ababa, </a:t>
            </a:r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 – 19 December 2023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11045" y="513366"/>
            <a:ext cx="8475407" cy="911225"/>
          </a:xfrm>
        </p:spPr>
        <p:txBody>
          <a:bodyPr>
            <a:noAutofit/>
          </a:bodyPr>
          <a:lstStyle/>
          <a:p>
            <a:pPr algn="ctr"/>
            <a:r>
              <a:rPr lang="en-US" sz="36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Challenges in mushroom production</a:t>
            </a:r>
            <a:endParaRPr lang="en-US" sz="3600" b="1" dirty="0">
              <a:solidFill>
                <a:schemeClr val="accent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195D519-7497-48C6-BB66-9C32B3137C5C}"/>
              </a:ext>
            </a:extLst>
          </p:cNvPr>
          <p:cNvSpPr txBox="1"/>
          <p:nvPr/>
        </p:nvSpPr>
        <p:spPr>
          <a:xfrm>
            <a:off x="0" y="6115050"/>
            <a:ext cx="12192000" cy="762000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6" name="Picture 5" descr="C:\Users\User\Documents\RAB\RAB Advisor to DG\Logo\Prospectus_new RAB Logo.png">
            <a:extLst>
              <a:ext uri="{FF2B5EF4-FFF2-40B4-BE49-F238E27FC236}">
                <a16:creationId xmlns:a16="http://schemas.microsoft.com/office/drawing/2014/main" id="{C6B3789F-1528-45E6-A768-19435F8BCFA1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7058" y="30389"/>
            <a:ext cx="2054942" cy="172958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04D3BA0-D010-4AB3-A507-4F26863CCE06}"/>
              </a:ext>
            </a:extLst>
          </p:cNvPr>
          <p:cNvSpPr/>
          <p:nvPr/>
        </p:nvSpPr>
        <p:spPr>
          <a:xfrm>
            <a:off x="186813" y="1424591"/>
            <a:ext cx="11552903" cy="37796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13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L</a:t>
            </a:r>
            <a:r>
              <a:rPr lang="en-US" altLang="zh-CN" sz="28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ow number of available varieties: </a:t>
            </a:r>
          </a:p>
          <a:p>
            <a:pPr marL="914400" lvl="1" indent="-457200">
              <a:lnSpc>
                <a:spcPct val="13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en-US" altLang="zh-CN" sz="2800" i="1" dirty="0" err="1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Pleurotus</a:t>
            </a:r>
            <a:r>
              <a:rPr lang="en-US" altLang="zh-CN" sz="2800" i="1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</a:t>
            </a:r>
            <a:r>
              <a:rPr lang="en-US" altLang="zh-CN" sz="2800" i="1" dirty="0" err="1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ostreatus</a:t>
            </a:r>
            <a:endParaRPr lang="en-US" altLang="zh-CN" sz="28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  <a:p>
            <a:pPr marL="914400" lvl="1" indent="-457200">
              <a:lnSpc>
                <a:spcPct val="13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en-US" altLang="zh-CN" sz="2800" i="1" dirty="0" err="1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Agaricus</a:t>
            </a:r>
            <a:r>
              <a:rPr lang="en-US" altLang="zh-CN" sz="2800" i="1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</a:t>
            </a:r>
            <a:r>
              <a:rPr lang="en-US" altLang="zh-CN" sz="2800" i="1" dirty="0" err="1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Bisporus</a:t>
            </a:r>
            <a:r>
              <a:rPr lang="en-US" altLang="zh-CN" sz="28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</a:t>
            </a:r>
          </a:p>
          <a:p>
            <a:pPr marL="914400" lvl="1" indent="-457200">
              <a:lnSpc>
                <a:spcPct val="13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en-US" altLang="zh-CN" sz="2800" i="1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Ganoderma </a:t>
            </a:r>
            <a:r>
              <a:rPr lang="en-US" altLang="zh-CN" sz="2800" i="1" dirty="0" err="1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Licidium</a:t>
            </a:r>
            <a:r>
              <a:rPr lang="en-US" altLang="zh-CN" sz="28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</a:t>
            </a:r>
          </a:p>
          <a:p>
            <a:pPr marL="914400" lvl="1" indent="-457200">
              <a:lnSpc>
                <a:spcPct val="13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en-US" altLang="zh-CN" sz="28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Lack of post harvest ad processing technologies and facilities  </a:t>
            </a:r>
            <a:endParaRPr lang="en-US" altLang="zh-CN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lnSpc>
                <a:spcPct val="130000"/>
              </a:lnSpc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en-US" altLang="zh-CN" sz="2800" dirty="0">
                <a:latin typeface="Arial" panose="020B0604020202020204" pitchFamily="34" charset="0"/>
                <a:cs typeface="Arial" panose="020B0604020202020204" pitchFamily="34" charset="0"/>
              </a:rPr>
              <a:t>Lack of standards throughout the production value chain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7419" y="324045"/>
            <a:ext cx="9399639" cy="979170"/>
          </a:xfrm>
        </p:spPr>
        <p:txBody>
          <a:bodyPr>
            <a:noAutofit/>
          </a:bodyPr>
          <a:lstStyle/>
          <a:p>
            <a:pPr algn="ctr"/>
            <a:r>
              <a:rPr lang="en-US" sz="36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going and future research and extension activities in mushroom produ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284" y="1825625"/>
            <a:ext cx="11434916" cy="4351338"/>
          </a:xfrm>
        </p:spPr>
        <p:txBody>
          <a:bodyPr>
            <a:normAutofit fontScale="97500"/>
          </a:bodyPr>
          <a:lstStyle/>
          <a:p>
            <a:pPr algn="just">
              <a:buFont typeface="Wingdings" panose="05000000000000000000" pitchFamily="2" charset="2"/>
              <a:buChar char="q"/>
            </a:pPr>
            <a:r>
              <a:rPr lang="en-US" sz="29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Development of new mushroom varieties</a:t>
            </a:r>
            <a:endParaRPr lang="en-US" sz="2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buFont typeface="Wingdings" panose="05000000000000000000" pitchFamily="2" charset="2"/>
              <a:buChar char="q"/>
            </a:pPr>
            <a:r>
              <a:rPr lang="en-US" sz="29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Development new and cheapest substrate formulation without compromising the quality and quantity of mushroom production</a:t>
            </a:r>
          </a:p>
          <a:p>
            <a:pPr algn="just">
              <a:buFont typeface="Wingdings" panose="05000000000000000000" pitchFamily="2" charset="2"/>
              <a:buChar char="q"/>
            </a:pPr>
            <a:r>
              <a:rPr lang="en-US" sz="29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Development of post-harvest and handling technologies</a:t>
            </a:r>
            <a:endParaRPr lang="en-US" sz="2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buFont typeface="Wingdings" panose="05000000000000000000" pitchFamily="2" charset="2"/>
              <a:buChar char="q"/>
            </a:pPr>
            <a:r>
              <a:rPr lang="en-US" sz="2900" dirty="0"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+mn-ea"/>
              </a:rPr>
              <a:t>Maintaining available mushroom varieties</a:t>
            </a:r>
          </a:p>
          <a:p>
            <a:pPr algn="just">
              <a:buFont typeface="Wingdings" panose="05000000000000000000" pitchFamily="2" charset="2"/>
              <a:buChar char="q"/>
            </a:pPr>
            <a:r>
              <a:rPr lang="en-US" sz="29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Training of mushroom farmers</a:t>
            </a:r>
          </a:p>
          <a:p>
            <a:pPr algn="just">
              <a:buFont typeface="Wingdings" panose="05000000000000000000" pitchFamily="2" charset="2"/>
              <a:buChar char="q"/>
            </a:pPr>
            <a:r>
              <a:rPr lang="en-US" sz="29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Establishment of demonstration plots</a:t>
            </a:r>
          </a:p>
          <a:p>
            <a:pPr algn="just">
              <a:buFont typeface="Wingdings" panose="05000000000000000000" pitchFamily="2" charset="2"/>
              <a:buChar char="q"/>
            </a:pPr>
            <a:r>
              <a:rPr lang="en-US" sz="2900" dirty="0"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+mn-ea"/>
              </a:rPr>
              <a:t>Spawn and mushroom tubes production and distribution</a:t>
            </a:r>
            <a:endParaRPr lang="en-US" sz="2900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>
              <a:buFont typeface="Wingdings" panose="05000000000000000000" charset="0"/>
              <a:buChar char="Ø"/>
            </a:pPr>
            <a:endParaRPr lang="en-US" sz="2665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 descr="C:\Users\User\Documents\RAB\RAB Advisor to DG\Logo\Prospectus_new RAB Logo.png">
            <a:extLst>
              <a:ext uri="{FF2B5EF4-FFF2-40B4-BE49-F238E27FC236}">
                <a16:creationId xmlns:a16="http://schemas.microsoft.com/office/drawing/2014/main" id="{708866A3-33BF-4C0B-A9FE-6502083F830D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7058" y="30389"/>
            <a:ext cx="2054942" cy="1729585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01F9EED-CFB4-4E4D-A903-4A772561453C}"/>
              </a:ext>
            </a:extLst>
          </p:cNvPr>
          <p:cNvSpPr txBox="1"/>
          <p:nvPr/>
        </p:nvSpPr>
        <p:spPr>
          <a:xfrm>
            <a:off x="0" y="6096000"/>
            <a:ext cx="12192000" cy="762000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8836742" cy="1325563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expected outputs of mushroom production in Rwanda</a:t>
            </a:r>
            <a:endParaRPr lang="en-US" sz="3600" b="1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buFont typeface="Wingdings" panose="05000000000000000000" pitchFamily="2" charset="2"/>
              <a:buChar char="q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ncreased  number of mushroom varieties </a:t>
            </a:r>
          </a:p>
          <a:p>
            <a:pPr>
              <a:lnSpc>
                <a:spcPct val="100000"/>
              </a:lnSpc>
              <a:buFont typeface="Wingdings" panose="05000000000000000000" pitchFamily="2" charset="2"/>
              <a:buChar char="q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trengthened  mushroom value chain through specialisation of its actors</a:t>
            </a:r>
          </a:p>
          <a:p>
            <a:pPr>
              <a:lnSpc>
                <a:spcPct val="100000"/>
              </a:lnSpc>
              <a:buFont typeface="Wingdings" panose="05000000000000000000" pitchFamily="2" charset="2"/>
              <a:buChar char="q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Established and empowered mushroom collection centers with cold room, dryers and processing facilities</a:t>
            </a:r>
          </a:p>
          <a:p>
            <a:pPr>
              <a:lnSpc>
                <a:spcPct val="100000"/>
              </a:lnSpc>
              <a:buFont typeface="Wingdings" panose="05000000000000000000" pitchFamily="2" charset="2"/>
              <a:buChar char="q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Established mushroom shops similar to coffee shops</a:t>
            </a:r>
          </a:p>
        </p:txBody>
      </p:sp>
      <p:pic>
        <p:nvPicPr>
          <p:cNvPr id="4" name="Picture 3" descr="C:\Users\User\Documents\RAB\RAB Advisor to DG\Logo\Prospectus_new RAB Logo.png">
            <a:extLst>
              <a:ext uri="{FF2B5EF4-FFF2-40B4-BE49-F238E27FC236}">
                <a16:creationId xmlns:a16="http://schemas.microsoft.com/office/drawing/2014/main" id="{33B5BF11-7965-49A4-9C85-5344EAA6407F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7058" y="30389"/>
            <a:ext cx="2054942" cy="1729585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E30CA7D-F8ED-48B0-B34F-1F21F37CEF48}"/>
              </a:ext>
            </a:extLst>
          </p:cNvPr>
          <p:cNvSpPr txBox="1"/>
          <p:nvPr/>
        </p:nvSpPr>
        <p:spPr>
          <a:xfrm>
            <a:off x="0" y="6115050"/>
            <a:ext cx="12192000" cy="762000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knowledgement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q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The People's Republic of China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Workshop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Organiser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  <a:p>
            <a:pPr>
              <a:buFont typeface="Wingdings" panose="05000000000000000000" pitchFamily="2" charset="2"/>
              <a:buChar char="q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The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Goverment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of Rwanda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INAGRI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RAB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ushroom farmers</a:t>
            </a:r>
          </a:p>
        </p:txBody>
      </p:sp>
      <p:pic>
        <p:nvPicPr>
          <p:cNvPr id="4" name="Picture 3" descr="C:\Users\User\Documents\RAB\RAB Advisor to DG\Logo\Prospectus_new RAB Logo.png">
            <a:extLst>
              <a:ext uri="{FF2B5EF4-FFF2-40B4-BE49-F238E27FC236}">
                <a16:creationId xmlns:a16="http://schemas.microsoft.com/office/drawing/2014/main" id="{966E62CC-04F7-4E81-B6E2-E26194B55E69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7058" y="30389"/>
            <a:ext cx="2054942" cy="1729585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AEFD2A7-A203-497E-B874-54ED6B64A9A5}"/>
              </a:ext>
            </a:extLst>
          </p:cNvPr>
          <p:cNvSpPr txBox="1"/>
          <p:nvPr/>
        </p:nvSpPr>
        <p:spPr>
          <a:xfrm>
            <a:off x="0" y="6115050"/>
            <a:ext cx="12192000" cy="762000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574161" cy="653415"/>
          </a:xfrm>
        </p:spPr>
        <p:txBody>
          <a:bodyPr>
            <a:normAutofit fontScale="90000"/>
          </a:bodyPr>
          <a:lstStyle/>
          <a:p>
            <a:br>
              <a:rPr lang="en-US" altLang="zh-CN" b="1" dirty="0">
                <a:solidFill>
                  <a:srgbClr val="F29D38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</a:br>
            <a:r>
              <a:rPr lang="en-US" altLang="zh-CN" b="1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THANK YOU FOR YOUR ATTENTION</a:t>
            </a:r>
            <a:br>
              <a:rPr lang="en-US" altLang="zh-CN" b="1" dirty="0">
                <a:solidFill>
                  <a:srgbClr val="F29D3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dirty="0"/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77E04C5E-1733-43ED-A8E8-B0A645D30F2D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1923668" y="2197019"/>
            <a:ext cx="3902817" cy="3902817"/>
          </a:xfrm>
          <a:prstGeom prst="rect">
            <a:avLst/>
          </a:prstGeom>
        </p:spPr>
      </p:pic>
      <p:pic>
        <p:nvPicPr>
          <p:cNvPr id="12" name="Picture 11" descr="C:\Users\User\Documents\RAB\RAB Advisor to DG\Logo\Prospectus_new RAB Logo.png">
            <a:extLst>
              <a:ext uri="{FF2B5EF4-FFF2-40B4-BE49-F238E27FC236}">
                <a16:creationId xmlns:a16="http://schemas.microsoft.com/office/drawing/2014/main" id="{0F7B5E3B-40C2-45E6-B2DF-342A5C65E5FE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7058" y="30389"/>
            <a:ext cx="2054942" cy="1729585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102FC9E-940C-4138-ABD7-1C5F6805F16A}"/>
              </a:ext>
            </a:extLst>
          </p:cNvPr>
          <p:cNvSpPr txBox="1"/>
          <p:nvPr/>
        </p:nvSpPr>
        <p:spPr>
          <a:xfrm>
            <a:off x="0" y="6115050"/>
            <a:ext cx="12192000" cy="762000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4D5910D-CD3D-4887-913C-117CADC4EEE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7742"/>
          <a:stretch/>
        </p:blipFill>
        <p:spPr>
          <a:xfrm>
            <a:off x="5826485" y="2175853"/>
            <a:ext cx="3202320" cy="3939197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670" y="428626"/>
            <a:ext cx="3309310" cy="5504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5" name="Title 1"/>
          <p:cNvSpPr txBox="1">
            <a:spLocks noChangeArrowheads="1"/>
          </p:cNvSpPr>
          <p:nvPr/>
        </p:nvSpPr>
        <p:spPr bwMode="auto">
          <a:xfrm>
            <a:off x="1536657" y="330996"/>
            <a:ext cx="2956322" cy="1208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alpha val="47842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05740" tIns="0" r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2400" b="1" dirty="0">
                <a:solidFill>
                  <a:schemeClr val="bg1"/>
                </a:solidFill>
                <a:latin typeface="Gill Sans MT" panose="020B0502020104020203" pitchFamily="34" charset="0"/>
                <a:sym typeface="Trebuchet MS" panose="020B0603020202020204" pitchFamily="34" charset="0"/>
              </a:rPr>
              <a:t>Rwanda at 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 sz="2400" b="1" dirty="0">
                <a:solidFill>
                  <a:schemeClr val="bg1"/>
                </a:solidFill>
                <a:latin typeface="Gill Sans MT" panose="020B0502020104020203" pitchFamily="34" charset="0"/>
                <a:sym typeface="Trebuchet MS" panose="020B0603020202020204" pitchFamily="34" charset="0"/>
              </a:rPr>
              <a:t>a glance</a:t>
            </a:r>
          </a:p>
        </p:txBody>
      </p:sp>
      <p:sp>
        <p:nvSpPr>
          <p:cNvPr id="5" name="Oval 4"/>
          <p:cNvSpPr/>
          <p:nvPr/>
        </p:nvSpPr>
        <p:spPr>
          <a:xfrm>
            <a:off x="4881920" y="2445282"/>
            <a:ext cx="742500" cy="741784"/>
          </a:xfrm>
          <a:prstGeom prst="ellipse">
            <a:avLst/>
          </a:prstGeom>
          <a:solidFill>
            <a:srgbClr val="FFFFFF"/>
          </a:solidFill>
          <a:ln w="38100" cap="rnd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8580" bIns="68580" anchor="ctr"/>
          <a:lstStyle/>
          <a:p>
            <a:pPr algn="ctr">
              <a:defRPr/>
            </a:pPr>
            <a:endParaRPr lang="en-US" sz="3600" b="1" kern="0" dirty="0">
              <a:solidFill>
                <a:schemeClr val="tx2"/>
              </a:solidFill>
              <a:latin typeface="Gill Sans MT" panose="020B0502020104020203" pitchFamily="34" charset="0"/>
              <a:cs typeface="Calibri" panose="020F050202020403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681355" y="1494234"/>
            <a:ext cx="1821656" cy="741760"/>
          </a:xfrm>
          <a:prstGeom prst="rect">
            <a:avLst/>
          </a:prstGeom>
          <a:noFill/>
          <a:ln w="9525" cap="rnd" cmpd="sng" algn="ctr">
            <a:noFill/>
            <a:prstDash val="sysDot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/>
          <a:lstStyle/>
          <a:p>
            <a:pPr>
              <a:lnSpc>
                <a:spcPct val="90000"/>
              </a:lnSpc>
              <a:spcAft>
                <a:spcPts val="750"/>
              </a:spcAft>
              <a:defRPr/>
            </a:pPr>
            <a:r>
              <a:rPr lang="en-US" sz="2800" dirty="0">
                <a:solidFill>
                  <a:schemeClr val="accent2"/>
                </a:solidFill>
                <a:latin typeface="Gill Sans MT" panose="020B0502020104020203" pitchFamily="34" charset="0"/>
              </a:rPr>
              <a:t>Country</a:t>
            </a:r>
            <a:r>
              <a:rPr lang="en-US" dirty="0">
                <a:solidFill>
                  <a:schemeClr val="accent2"/>
                </a:solidFill>
                <a:latin typeface="Gill Sans MT" panose="020B0502020104020203" pitchFamily="34" charset="0"/>
              </a:rPr>
              <a:t> Size</a:t>
            </a:r>
            <a:r>
              <a:rPr lang="en-US" dirty="0">
                <a:solidFill>
                  <a:schemeClr val="tx2"/>
                </a:solidFill>
                <a:latin typeface="Gill Sans MT" panose="020B0502020104020203" pitchFamily="34" charset="0"/>
              </a:rPr>
              <a:t> </a:t>
            </a:r>
          </a:p>
          <a:p>
            <a:pPr>
              <a:lnSpc>
                <a:spcPct val="90000"/>
              </a:lnSpc>
              <a:spcAft>
                <a:spcPts val="750"/>
              </a:spcAft>
              <a:defRPr/>
            </a:pPr>
            <a:r>
              <a:rPr lang="en-US" sz="1200" dirty="0">
                <a:solidFill>
                  <a:schemeClr val="tx1"/>
                </a:solidFill>
                <a:latin typeface="Gill Sans MT" panose="020B0502020104020203" pitchFamily="34" charset="0"/>
              </a:rPr>
              <a:t>26,338 Sq. Km</a:t>
            </a:r>
          </a:p>
        </p:txBody>
      </p:sp>
      <p:sp>
        <p:nvSpPr>
          <p:cNvPr id="7" name="Rectangle 6"/>
          <p:cNvSpPr/>
          <p:nvPr/>
        </p:nvSpPr>
        <p:spPr>
          <a:xfrm>
            <a:off x="5712619" y="2574132"/>
            <a:ext cx="1821656" cy="741760"/>
          </a:xfrm>
          <a:prstGeom prst="rect">
            <a:avLst/>
          </a:prstGeom>
          <a:noFill/>
          <a:ln w="9525" cap="rnd" cmpd="sng" algn="ctr">
            <a:noFill/>
            <a:prstDash val="sysDot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/>
          <a:lstStyle/>
          <a:p>
            <a:pPr>
              <a:lnSpc>
                <a:spcPct val="90000"/>
              </a:lnSpc>
              <a:spcAft>
                <a:spcPts val="750"/>
              </a:spcAft>
              <a:defRPr/>
            </a:pPr>
            <a:r>
              <a:rPr lang="en-US" sz="2000" dirty="0">
                <a:solidFill>
                  <a:schemeClr val="accent2"/>
                </a:solidFill>
                <a:latin typeface="Gill Sans MT" panose="020B0502020104020203" pitchFamily="34" charset="0"/>
              </a:rPr>
              <a:t>Population</a:t>
            </a:r>
            <a:r>
              <a:rPr lang="en-US" dirty="0">
                <a:solidFill>
                  <a:schemeClr val="accent2"/>
                </a:solidFill>
                <a:latin typeface="Gill Sans MT" panose="020B0502020104020203" pitchFamily="34" charset="0"/>
              </a:rPr>
              <a:t> (2022)</a:t>
            </a:r>
          </a:p>
          <a:p>
            <a:pPr>
              <a:lnSpc>
                <a:spcPct val="90000"/>
              </a:lnSpc>
              <a:defRPr/>
            </a:pPr>
            <a:r>
              <a:rPr lang="en-US" sz="1200" dirty="0">
                <a:solidFill>
                  <a:schemeClr val="tx1"/>
                </a:solidFill>
                <a:latin typeface="Gill Sans MT" panose="020B0502020104020203" pitchFamily="34" charset="0"/>
              </a:rPr>
              <a:t>13.2 million </a:t>
            </a:r>
          </a:p>
          <a:p>
            <a:pPr>
              <a:lnSpc>
                <a:spcPct val="90000"/>
              </a:lnSpc>
              <a:spcAft>
                <a:spcPts val="750"/>
              </a:spcAft>
              <a:defRPr/>
            </a:pPr>
            <a:endParaRPr lang="en-US" sz="1200" dirty="0">
              <a:solidFill>
                <a:schemeClr val="tx1"/>
              </a:solidFill>
              <a:latin typeface="Gill Sans MT" panose="020B0502020104020203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712619" y="3681413"/>
            <a:ext cx="1821656" cy="606029"/>
          </a:xfrm>
          <a:prstGeom prst="rect">
            <a:avLst/>
          </a:prstGeom>
          <a:noFill/>
          <a:ln w="9525" cap="rnd" cmpd="sng" algn="ctr">
            <a:noFill/>
            <a:prstDash val="sysDot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/>
          <a:lstStyle/>
          <a:p>
            <a:pPr>
              <a:lnSpc>
                <a:spcPct val="90000"/>
              </a:lnSpc>
              <a:spcAft>
                <a:spcPts val="750"/>
              </a:spcAft>
              <a:defRPr/>
            </a:pPr>
            <a:r>
              <a:rPr lang="en-US" dirty="0">
                <a:solidFill>
                  <a:schemeClr val="accent2"/>
                </a:solidFill>
                <a:latin typeface="Gill Sans MT" panose="020B0502020104020203" pitchFamily="34" charset="0"/>
              </a:rPr>
              <a:t>Agriculture land</a:t>
            </a:r>
          </a:p>
          <a:p>
            <a:pPr>
              <a:lnSpc>
                <a:spcPct val="90000"/>
              </a:lnSpc>
              <a:spcAft>
                <a:spcPts val="450"/>
              </a:spcAft>
              <a:defRPr/>
            </a:pPr>
            <a:r>
              <a:rPr lang="en-US" sz="1200" dirty="0">
                <a:solidFill>
                  <a:schemeClr val="tx1"/>
                </a:solidFill>
                <a:latin typeface="Gill Sans MT" panose="020B0502020104020203" pitchFamily="34" charset="0"/>
              </a:rPr>
              <a:t>1.4 Million Ha</a:t>
            </a:r>
          </a:p>
        </p:txBody>
      </p:sp>
      <p:sp>
        <p:nvSpPr>
          <p:cNvPr id="9" name="Rectangle 8"/>
          <p:cNvSpPr/>
          <p:nvPr/>
        </p:nvSpPr>
        <p:spPr>
          <a:xfrm>
            <a:off x="5712619" y="4591051"/>
            <a:ext cx="2156222" cy="972741"/>
          </a:xfrm>
          <a:prstGeom prst="rect">
            <a:avLst/>
          </a:prstGeom>
          <a:noFill/>
          <a:ln w="9525" cap="rnd" cmpd="sng" algn="ctr">
            <a:noFill/>
            <a:prstDash val="sysDot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/>
          <a:lstStyle/>
          <a:p>
            <a:pPr>
              <a:lnSpc>
                <a:spcPct val="90000"/>
              </a:lnSpc>
              <a:spcAft>
                <a:spcPts val="750"/>
              </a:spcAft>
              <a:defRPr/>
            </a:pPr>
            <a:r>
              <a:rPr lang="en-US" dirty="0">
                <a:solidFill>
                  <a:schemeClr val="accent2"/>
                </a:solidFill>
                <a:latin typeface="Gill Sans MT" panose="020B0502020104020203" pitchFamily="34" charset="0"/>
              </a:rPr>
              <a:t>Currency/exchange rate</a:t>
            </a:r>
            <a:r>
              <a:rPr lang="en-US" baseline="30000" dirty="0">
                <a:solidFill>
                  <a:schemeClr val="accent2"/>
                </a:solidFill>
                <a:latin typeface="Gill Sans MT" panose="020B0502020104020203" pitchFamily="34" charset="0"/>
              </a:rPr>
              <a:t>1</a:t>
            </a:r>
          </a:p>
          <a:p>
            <a:pPr>
              <a:lnSpc>
                <a:spcPct val="90000"/>
              </a:lnSpc>
              <a:spcAft>
                <a:spcPts val="450"/>
              </a:spcAft>
              <a:defRPr/>
            </a:pPr>
            <a:r>
              <a:rPr lang="en-US" sz="1200" dirty="0">
                <a:solidFill>
                  <a:schemeClr val="tx1"/>
                </a:solidFill>
                <a:latin typeface="Gill Sans MT" panose="020B0502020104020203" pitchFamily="34" charset="0"/>
              </a:rPr>
              <a:t>Rwanda Francs (RWF)</a:t>
            </a:r>
          </a:p>
          <a:p>
            <a:pPr>
              <a:lnSpc>
                <a:spcPct val="90000"/>
              </a:lnSpc>
              <a:spcAft>
                <a:spcPts val="225"/>
              </a:spcAft>
              <a:defRPr/>
            </a:pPr>
            <a:r>
              <a:rPr lang="en-US" sz="1200" dirty="0">
                <a:solidFill>
                  <a:schemeClr val="tx1"/>
                </a:solidFill>
                <a:latin typeface="Gill Sans MT" panose="020B0502020104020203" pitchFamily="34" charset="0"/>
              </a:rPr>
              <a:t>~RWF 1,192/USD </a:t>
            </a:r>
          </a:p>
          <a:p>
            <a:pPr>
              <a:lnSpc>
                <a:spcPct val="90000"/>
              </a:lnSpc>
              <a:spcAft>
                <a:spcPts val="225"/>
              </a:spcAft>
              <a:defRPr/>
            </a:pPr>
            <a:r>
              <a:rPr lang="en-US" sz="1200" dirty="0">
                <a:solidFill>
                  <a:schemeClr val="tx1"/>
                </a:solidFill>
                <a:latin typeface="Gill Sans MT" panose="020B0502020104020203" pitchFamily="34" charset="0"/>
              </a:rPr>
              <a:t>~RWF 1,304/EUR</a:t>
            </a:r>
          </a:p>
        </p:txBody>
      </p:sp>
      <p:grpSp>
        <p:nvGrpSpPr>
          <p:cNvPr id="18443" name="Group 9"/>
          <p:cNvGrpSpPr>
            <a:grpSpLocks/>
          </p:cNvGrpSpPr>
          <p:nvPr/>
        </p:nvGrpSpPr>
        <p:grpSpPr bwMode="auto">
          <a:xfrm>
            <a:off x="4886325" y="1539480"/>
            <a:ext cx="741760" cy="741759"/>
            <a:chOff x="8215090" y="1223714"/>
            <a:chExt cx="990000" cy="989045"/>
          </a:xfrm>
        </p:grpSpPr>
        <p:sp>
          <p:nvSpPr>
            <p:cNvPr id="11" name="Oval 10"/>
            <p:cNvSpPr/>
            <p:nvPr/>
          </p:nvSpPr>
          <p:spPr>
            <a:xfrm>
              <a:off x="8215090" y="1223714"/>
              <a:ext cx="990000" cy="989045"/>
            </a:xfrm>
            <a:prstGeom prst="ellipse">
              <a:avLst/>
            </a:prstGeom>
            <a:solidFill>
              <a:srgbClr val="FFFFFF"/>
            </a:solidFill>
            <a:ln w="38100" cap="rnd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68580" bIns="68580" anchor="ctr"/>
            <a:lstStyle/>
            <a:p>
              <a:pPr algn="ctr">
                <a:defRPr/>
              </a:pPr>
              <a:endParaRPr lang="en-US" sz="3600" b="1" kern="0" dirty="0">
                <a:solidFill>
                  <a:schemeClr val="tx2"/>
                </a:solidFill>
                <a:latin typeface="Gill Sans MT" panose="020B0502020104020203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8516" name="AutoShape 18"/>
            <p:cNvSpPr>
              <a:spLocks noChangeAspect="1" noChangeArrowheads="1" noTextEdit="1"/>
            </p:cNvSpPr>
            <p:nvPr/>
          </p:nvSpPr>
          <p:spPr bwMode="auto">
            <a:xfrm>
              <a:off x="8367190" y="1375336"/>
              <a:ext cx="685800" cy="685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1148" tIns="20574" rIns="41148" bIns="20574"/>
            <a:lstStyle/>
            <a:p>
              <a:endParaRPr lang="en-US"/>
            </a:p>
          </p:txBody>
        </p:sp>
      </p:grpSp>
      <p:grpSp>
        <p:nvGrpSpPr>
          <p:cNvPr id="18444" name="Group 16"/>
          <p:cNvGrpSpPr>
            <a:grpSpLocks/>
          </p:cNvGrpSpPr>
          <p:nvPr/>
        </p:nvGrpSpPr>
        <p:grpSpPr bwMode="auto">
          <a:xfrm>
            <a:off x="5008960" y="2569370"/>
            <a:ext cx="483394" cy="473869"/>
            <a:chOff x="5273803" y="2606040"/>
            <a:chExt cx="1644396" cy="1645920"/>
          </a:xfrm>
        </p:grpSpPr>
        <p:sp>
          <p:nvSpPr>
            <p:cNvPr id="18509" name="AutoShape 18"/>
            <p:cNvSpPr>
              <a:spLocks noChangeAspect="1" noChangeArrowheads="1" noTextEdit="1"/>
            </p:cNvSpPr>
            <p:nvPr/>
          </p:nvSpPr>
          <p:spPr bwMode="auto">
            <a:xfrm>
              <a:off x="5273803" y="2606040"/>
              <a:ext cx="1644396" cy="1645920"/>
            </a:xfrm>
            <a:prstGeom prst="rect">
              <a:avLst/>
            </a:prstGeom>
            <a:noFill/>
            <a:ln w="9525">
              <a:solidFill>
                <a:srgbClr val="FFFFFF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41148" tIns="20574" rIns="41148" bIns="20574"/>
            <a:lstStyle/>
            <a:p>
              <a:endParaRPr lang="en-US"/>
            </a:p>
          </p:txBody>
        </p:sp>
        <p:grpSp>
          <p:nvGrpSpPr>
            <p:cNvPr id="18510" name="Group 18"/>
            <p:cNvGrpSpPr>
              <a:grpSpLocks/>
            </p:cNvGrpSpPr>
            <p:nvPr/>
          </p:nvGrpSpPr>
          <p:grpSpPr bwMode="auto">
            <a:xfrm>
              <a:off x="5382996" y="2831482"/>
              <a:ext cx="1515999" cy="1311783"/>
              <a:chOff x="5382996" y="2831482"/>
              <a:chExt cx="1515999" cy="1311783"/>
            </a:xfrm>
          </p:grpSpPr>
          <p:sp>
            <p:nvSpPr>
              <p:cNvPr id="20" name="Freeform 20"/>
              <p:cNvSpPr>
                <a:spLocks noEditPoints="1"/>
              </p:cNvSpPr>
              <p:nvPr/>
            </p:nvSpPr>
            <p:spPr bwMode="auto">
              <a:xfrm>
                <a:off x="5383159" y="2833493"/>
                <a:ext cx="1514790" cy="1310944"/>
              </a:xfrm>
              <a:custGeom>
                <a:avLst/>
                <a:gdLst>
                  <a:gd name="T0" fmla="*/ 227 w 2124"/>
                  <a:gd name="T1" fmla="*/ 496 h 1836"/>
                  <a:gd name="T2" fmla="*/ 528 w 2124"/>
                  <a:gd name="T3" fmla="*/ 467 h 1836"/>
                  <a:gd name="T4" fmla="*/ 996 w 2124"/>
                  <a:gd name="T5" fmla="*/ 467 h 1836"/>
                  <a:gd name="T6" fmla="*/ 695 w 2124"/>
                  <a:gd name="T7" fmla="*/ 496 h 1836"/>
                  <a:gd name="T8" fmla="*/ 994 w 2124"/>
                  <a:gd name="T9" fmla="*/ 498 h 1836"/>
                  <a:gd name="T10" fmla="*/ 1130 w 2124"/>
                  <a:gd name="T11" fmla="*/ 467 h 1836"/>
                  <a:gd name="T12" fmla="*/ 1431 w 2124"/>
                  <a:gd name="T13" fmla="*/ 496 h 1836"/>
                  <a:gd name="T14" fmla="*/ 1933 w 2124"/>
                  <a:gd name="T15" fmla="*/ 467 h 1836"/>
                  <a:gd name="T16" fmla="*/ 1631 w 2124"/>
                  <a:gd name="T17" fmla="*/ 496 h 1836"/>
                  <a:gd name="T18" fmla="*/ 1930 w 2124"/>
                  <a:gd name="T19" fmla="*/ 498 h 1836"/>
                  <a:gd name="T20" fmla="*/ 427 w 2124"/>
                  <a:gd name="T21" fmla="*/ 273 h 1836"/>
                  <a:gd name="T22" fmla="*/ 729 w 2124"/>
                  <a:gd name="T23" fmla="*/ 301 h 1836"/>
                  <a:gd name="T24" fmla="*/ 1230 w 2124"/>
                  <a:gd name="T25" fmla="*/ 273 h 1836"/>
                  <a:gd name="T26" fmla="*/ 929 w 2124"/>
                  <a:gd name="T27" fmla="*/ 301 h 1836"/>
                  <a:gd name="T28" fmla="*/ 1228 w 2124"/>
                  <a:gd name="T29" fmla="*/ 304 h 1836"/>
                  <a:gd name="T30" fmla="*/ 1364 w 2124"/>
                  <a:gd name="T31" fmla="*/ 273 h 1836"/>
                  <a:gd name="T32" fmla="*/ 1665 w 2124"/>
                  <a:gd name="T33" fmla="*/ 301 h 1836"/>
                  <a:gd name="T34" fmla="*/ 996 w 2124"/>
                  <a:gd name="T35" fmla="*/ 78 h 1836"/>
                  <a:gd name="T36" fmla="*/ 695 w 2124"/>
                  <a:gd name="T37" fmla="*/ 107 h 1836"/>
                  <a:gd name="T38" fmla="*/ 994 w 2124"/>
                  <a:gd name="T39" fmla="*/ 109 h 1836"/>
                  <a:gd name="T40" fmla="*/ 1130 w 2124"/>
                  <a:gd name="T41" fmla="*/ 78 h 1836"/>
                  <a:gd name="T42" fmla="*/ 1431 w 2124"/>
                  <a:gd name="T43" fmla="*/ 107 h 1836"/>
                  <a:gd name="T44" fmla="*/ 1893 w 2124"/>
                  <a:gd name="T45" fmla="*/ 584 h 1836"/>
                  <a:gd name="T46" fmla="*/ 1893 w 2124"/>
                  <a:gd name="T47" fmla="*/ 628 h 1836"/>
                  <a:gd name="T48" fmla="*/ 2060 w 2124"/>
                  <a:gd name="T49" fmla="*/ 662 h 1836"/>
                  <a:gd name="T50" fmla="*/ 69 w 2124"/>
                  <a:gd name="T51" fmla="*/ 693 h 1836"/>
                  <a:gd name="T52" fmla="*/ 377 w 2124"/>
                  <a:gd name="T53" fmla="*/ 638 h 1836"/>
                  <a:gd name="T54" fmla="*/ 1533 w 2124"/>
                  <a:gd name="T55" fmla="*/ 1602 h 1836"/>
                  <a:gd name="T56" fmla="*/ 1155 w 2124"/>
                  <a:gd name="T57" fmla="*/ 1543 h 1836"/>
                  <a:gd name="T58" fmla="*/ 2102 w 2124"/>
                  <a:gd name="T59" fmla="*/ 1836 h 1836"/>
                  <a:gd name="T60" fmla="*/ 1191 w 2124"/>
                  <a:gd name="T61" fmla="*/ 1811 h 1836"/>
                  <a:gd name="T62" fmla="*/ 787 w 2124"/>
                  <a:gd name="T63" fmla="*/ 1449 h 1836"/>
                  <a:gd name="T64" fmla="*/ 404 w 2124"/>
                  <a:gd name="T65" fmla="*/ 1449 h 1836"/>
                  <a:gd name="T66" fmla="*/ 0 w 2124"/>
                  <a:gd name="T67" fmla="*/ 1814 h 1836"/>
                  <a:gd name="T68" fmla="*/ 1191 w 2124"/>
                  <a:gd name="T69" fmla="*/ 1811 h 1836"/>
                  <a:gd name="T70" fmla="*/ 896 w 2124"/>
                  <a:gd name="T71" fmla="*/ 662 h 1836"/>
                  <a:gd name="T72" fmla="*/ 1197 w 2124"/>
                  <a:gd name="T73" fmla="*/ 690 h 1836"/>
                  <a:gd name="T74" fmla="*/ 1356 w 2124"/>
                  <a:gd name="T75" fmla="*/ 1362 h 1836"/>
                  <a:gd name="T76" fmla="*/ 1407 w 2124"/>
                  <a:gd name="T77" fmla="*/ 1450 h 1836"/>
                  <a:gd name="T78" fmla="*/ 1649 w 2124"/>
                  <a:gd name="T79" fmla="*/ 1450 h 1836"/>
                  <a:gd name="T80" fmla="*/ 1701 w 2124"/>
                  <a:gd name="T81" fmla="*/ 1362 h 1836"/>
                  <a:gd name="T82" fmla="*/ 1796 w 2124"/>
                  <a:gd name="T83" fmla="*/ 1101 h 1836"/>
                  <a:gd name="T84" fmla="*/ 1528 w 2124"/>
                  <a:gd name="T85" fmla="*/ 1401 h 1836"/>
                  <a:gd name="T86" fmla="*/ 1261 w 2124"/>
                  <a:gd name="T87" fmla="*/ 1101 h 1836"/>
                  <a:gd name="T88" fmla="*/ 322 w 2124"/>
                  <a:gd name="T89" fmla="*/ 1157 h 1836"/>
                  <a:gd name="T90" fmla="*/ 440 w 2124"/>
                  <a:gd name="T91" fmla="*/ 1423 h 1836"/>
                  <a:gd name="T92" fmla="*/ 717 w 2124"/>
                  <a:gd name="T93" fmla="*/ 1399 h 1836"/>
                  <a:gd name="T94" fmla="*/ 761 w 2124"/>
                  <a:gd name="T95" fmla="*/ 1367 h 1836"/>
                  <a:gd name="T96" fmla="*/ 916 w 2124"/>
                  <a:gd name="T97" fmla="*/ 1076 h 1836"/>
                  <a:gd name="T98" fmla="*/ 738 w 2124"/>
                  <a:gd name="T99" fmla="*/ 1329 h 1836"/>
                  <a:gd name="T100" fmla="*/ 350 w 2124"/>
                  <a:gd name="T101" fmla="*/ 1122 h 1836"/>
                  <a:gd name="T102" fmla="*/ 322 w 2124"/>
                  <a:gd name="T103" fmla="*/ 1157 h 18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124" h="1836">
                    <a:moveTo>
                      <a:pt x="512" y="503"/>
                    </a:moveTo>
                    <a:cubicBezTo>
                      <a:pt x="505" y="503"/>
                      <a:pt x="499" y="501"/>
                      <a:pt x="495" y="496"/>
                    </a:cubicBezTo>
                    <a:cubicBezTo>
                      <a:pt x="461" y="456"/>
                      <a:pt x="413" y="433"/>
                      <a:pt x="361" y="433"/>
                    </a:cubicBezTo>
                    <a:cubicBezTo>
                      <a:pt x="309" y="433"/>
                      <a:pt x="260" y="456"/>
                      <a:pt x="227" y="496"/>
                    </a:cubicBezTo>
                    <a:cubicBezTo>
                      <a:pt x="219" y="505"/>
                      <a:pt x="205" y="506"/>
                      <a:pt x="196" y="498"/>
                    </a:cubicBezTo>
                    <a:cubicBezTo>
                      <a:pt x="187" y="491"/>
                      <a:pt x="186" y="477"/>
                      <a:pt x="193" y="467"/>
                    </a:cubicBezTo>
                    <a:cubicBezTo>
                      <a:pt x="235" y="418"/>
                      <a:pt x="296" y="389"/>
                      <a:pt x="361" y="389"/>
                    </a:cubicBezTo>
                    <a:cubicBezTo>
                      <a:pt x="426" y="389"/>
                      <a:pt x="487" y="418"/>
                      <a:pt x="528" y="467"/>
                    </a:cubicBezTo>
                    <a:cubicBezTo>
                      <a:pt x="536" y="477"/>
                      <a:pt x="535" y="491"/>
                      <a:pt x="526" y="498"/>
                    </a:cubicBezTo>
                    <a:cubicBezTo>
                      <a:pt x="522" y="502"/>
                      <a:pt x="516" y="503"/>
                      <a:pt x="512" y="503"/>
                    </a:cubicBezTo>
                    <a:close/>
                    <a:moveTo>
                      <a:pt x="994" y="498"/>
                    </a:moveTo>
                    <a:cubicBezTo>
                      <a:pt x="1003" y="491"/>
                      <a:pt x="1004" y="477"/>
                      <a:pt x="996" y="467"/>
                    </a:cubicBezTo>
                    <a:cubicBezTo>
                      <a:pt x="955" y="418"/>
                      <a:pt x="894" y="389"/>
                      <a:pt x="829" y="389"/>
                    </a:cubicBezTo>
                    <a:cubicBezTo>
                      <a:pt x="764" y="389"/>
                      <a:pt x="703" y="418"/>
                      <a:pt x="661" y="467"/>
                    </a:cubicBezTo>
                    <a:cubicBezTo>
                      <a:pt x="654" y="477"/>
                      <a:pt x="655" y="491"/>
                      <a:pt x="664" y="498"/>
                    </a:cubicBezTo>
                    <a:cubicBezTo>
                      <a:pt x="673" y="506"/>
                      <a:pt x="687" y="505"/>
                      <a:pt x="695" y="496"/>
                    </a:cubicBezTo>
                    <a:cubicBezTo>
                      <a:pt x="728" y="456"/>
                      <a:pt x="777" y="433"/>
                      <a:pt x="829" y="433"/>
                    </a:cubicBezTo>
                    <a:cubicBezTo>
                      <a:pt x="881" y="433"/>
                      <a:pt x="929" y="456"/>
                      <a:pt x="963" y="496"/>
                    </a:cubicBezTo>
                    <a:cubicBezTo>
                      <a:pt x="967" y="501"/>
                      <a:pt x="973" y="503"/>
                      <a:pt x="980" y="503"/>
                    </a:cubicBezTo>
                    <a:cubicBezTo>
                      <a:pt x="985" y="503"/>
                      <a:pt x="990" y="502"/>
                      <a:pt x="994" y="498"/>
                    </a:cubicBezTo>
                    <a:close/>
                    <a:moveTo>
                      <a:pt x="1462" y="498"/>
                    </a:moveTo>
                    <a:cubicBezTo>
                      <a:pt x="1471" y="491"/>
                      <a:pt x="1472" y="477"/>
                      <a:pt x="1465" y="467"/>
                    </a:cubicBezTo>
                    <a:cubicBezTo>
                      <a:pt x="1423" y="418"/>
                      <a:pt x="1362" y="389"/>
                      <a:pt x="1297" y="389"/>
                    </a:cubicBezTo>
                    <a:cubicBezTo>
                      <a:pt x="1232" y="389"/>
                      <a:pt x="1171" y="418"/>
                      <a:pt x="1130" y="467"/>
                    </a:cubicBezTo>
                    <a:cubicBezTo>
                      <a:pt x="1122" y="477"/>
                      <a:pt x="1123" y="491"/>
                      <a:pt x="1132" y="498"/>
                    </a:cubicBezTo>
                    <a:cubicBezTo>
                      <a:pt x="1142" y="506"/>
                      <a:pt x="1155" y="505"/>
                      <a:pt x="1163" y="496"/>
                    </a:cubicBezTo>
                    <a:cubicBezTo>
                      <a:pt x="1197" y="456"/>
                      <a:pt x="1245" y="433"/>
                      <a:pt x="1297" y="433"/>
                    </a:cubicBezTo>
                    <a:cubicBezTo>
                      <a:pt x="1349" y="433"/>
                      <a:pt x="1398" y="456"/>
                      <a:pt x="1431" y="496"/>
                    </a:cubicBezTo>
                    <a:cubicBezTo>
                      <a:pt x="1435" y="501"/>
                      <a:pt x="1441" y="503"/>
                      <a:pt x="1448" y="503"/>
                    </a:cubicBezTo>
                    <a:cubicBezTo>
                      <a:pt x="1453" y="503"/>
                      <a:pt x="1458" y="502"/>
                      <a:pt x="1462" y="498"/>
                    </a:cubicBezTo>
                    <a:close/>
                    <a:moveTo>
                      <a:pt x="1930" y="498"/>
                    </a:moveTo>
                    <a:cubicBezTo>
                      <a:pt x="1939" y="491"/>
                      <a:pt x="1940" y="477"/>
                      <a:pt x="1933" y="467"/>
                    </a:cubicBezTo>
                    <a:cubicBezTo>
                      <a:pt x="1891" y="418"/>
                      <a:pt x="1830" y="389"/>
                      <a:pt x="1765" y="389"/>
                    </a:cubicBezTo>
                    <a:cubicBezTo>
                      <a:pt x="1700" y="389"/>
                      <a:pt x="1639" y="418"/>
                      <a:pt x="1598" y="467"/>
                    </a:cubicBezTo>
                    <a:cubicBezTo>
                      <a:pt x="1590" y="477"/>
                      <a:pt x="1591" y="491"/>
                      <a:pt x="1600" y="498"/>
                    </a:cubicBezTo>
                    <a:cubicBezTo>
                      <a:pt x="1610" y="506"/>
                      <a:pt x="1624" y="505"/>
                      <a:pt x="1631" y="496"/>
                    </a:cubicBezTo>
                    <a:cubicBezTo>
                      <a:pt x="1665" y="456"/>
                      <a:pt x="1713" y="433"/>
                      <a:pt x="1765" y="433"/>
                    </a:cubicBezTo>
                    <a:cubicBezTo>
                      <a:pt x="1817" y="433"/>
                      <a:pt x="1866" y="456"/>
                      <a:pt x="1899" y="496"/>
                    </a:cubicBezTo>
                    <a:cubicBezTo>
                      <a:pt x="1903" y="501"/>
                      <a:pt x="1910" y="503"/>
                      <a:pt x="1916" y="503"/>
                    </a:cubicBezTo>
                    <a:cubicBezTo>
                      <a:pt x="1921" y="503"/>
                      <a:pt x="1926" y="502"/>
                      <a:pt x="1930" y="498"/>
                    </a:cubicBezTo>
                    <a:close/>
                    <a:moveTo>
                      <a:pt x="760" y="304"/>
                    </a:moveTo>
                    <a:cubicBezTo>
                      <a:pt x="769" y="296"/>
                      <a:pt x="770" y="282"/>
                      <a:pt x="762" y="273"/>
                    </a:cubicBezTo>
                    <a:cubicBezTo>
                      <a:pt x="721" y="223"/>
                      <a:pt x="660" y="195"/>
                      <a:pt x="595" y="195"/>
                    </a:cubicBezTo>
                    <a:cubicBezTo>
                      <a:pt x="530" y="195"/>
                      <a:pt x="469" y="223"/>
                      <a:pt x="427" y="273"/>
                    </a:cubicBezTo>
                    <a:cubicBezTo>
                      <a:pt x="420" y="282"/>
                      <a:pt x="421" y="296"/>
                      <a:pt x="430" y="304"/>
                    </a:cubicBezTo>
                    <a:cubicBezTo>
                      <a:pt x="439" y="312"/>
                      <a:pt x="453" y="310"/>
                      <a:pt x="461" y="301"/>
                    </a:cubicBezTo>
                    <a:cubicBezTo>
                      <a:pt x="494" y="262"/>
                      <a:pt x="543" y="239"/>
                      <a:pt x="595" y="239"/>
                    </a:cubicBezTo>
                    <a:cubicBezTo>
                      <a:pt x="647" y="239"/>
                      <a:pt x="695" y="262"/>
                      <a:pt x="729" y="301"/>
                    </a:cubicBezTo>
                    <a:cubicBezTo>
                      <a:pt x="733" y="306"/>
                      <a:pt x="739" y="309"/>
                      <a:pt x="746" y="309"/>
                    </a:cubicBezTo>
                    <a:cubicBezTo>
                      <a:pt x="751" y="309"/>
                      <a:pt x="756" y="307"/>
                      <a:pt x="760" y="304"/>
                    </a:cubicBezTo>
                    <a:close/>
                    <a:moveTo>
                      <a:pt x="1228" y="304"/>
                    </a:moveTo>
                    <a:cubicBezTo>
                      <a:pt x="1237" y="296"/>
                      <a:pt x="1238" y="282"/>
                      <a:pt x="1230" y="273"/>
                    </a:cubicBezTo>
                    <a:cubicBezTo>
                      <a:pt x="1189" y="223"/>
                      <a:pt x="1128" y="195"/>
                      <a:pt x="1063" y="195"/>
                    </a:cubicBezTo>
                    <a:cubicBezTo>
                      <a:pt x="998" y="195"/>
                      <a:pt x="937" y="223"/>
                      <a:pt x="896" y="273"/>
                    </a:cubicBezTo>
                    <a:cubicBezTo>
                      <a:pt x="888" y="282"/>
                      <a:pt x="889" y="296"/>
                      <a:pt x="898" y="304"/>
                    </a:cubicBezTo>
                    <a:cubicBezTo>
                      <a:pt x="908" y="312"/>
                      <a:pt x="921" y="310"/>
                      <a:pt x="929" y="301"/>
                    </a:cubicBezTo>
                    <a:cubicBezTo>
                      <a:pt x="963" y="262"/>
                      <a:pt x="1011" y="239"/>
                      <a:pt x="1063" y="239"/>
                    </a:cubicBezTo>
                    <a:cubicBezTo>
                      <a:pt x="1115" y="239"/>
                      <a:pt x="1163" y="262"/>
                      <a:pt x="1197" y="301"/>
                    </a:cubicBezTo>
                    <a:cubicBezTo>
                      <a:pt x="1201" y="306"/>
                      <a:pt x="1207" y="309"/>
                      <a:pt x="1214" y="309"/>
                    </a:cubicBezTo>
                    <a:cubicBezTo>
                      <a:pt x="1219" y="309"/>
                      <a:pt x="1224" y="307"/>
                      <a:pt x="1228" y="304"/>
                    </a:cubicBezTo>
                    <a:close/>
                    <a:moveTo>
                      <a:pt x="1696" y="304"/>
                    </a:moveTo>
                    <a:cubicBezTo>
                      <a:pt x="1705" y="296"/>
                      <a:pt x="1706" y="282"/>
                      <a:pt x="1699" y="273"/>
                    </a:cubicBezTo>
                    <a:cubicBezTo>
                      <a:pt x="1657" y="223"/>
                      <a:pt x="1596" y="195"/>
                      <a:pt x="1531" y="195"/>
                    </a:cubicBezTo>
                    <a:cubicBezTo>
                      <a:pt x="1466" y="195"/>
                      <a:pt x="1405" y="223"/>
                      <a:pt x="1364" y="273"/>
                    </a:cubicBezTo>
                    <a:cubicBezTo>
                      <a:pt x="1356" y="282"/>
                      <a:pt x="1357" y="296"/>
                      <a:pt x="1366" y="304"/>
                    </a:cubicBezTo>
                    <a:cubicBezTo>
                      <a:pt x="1376" y="312"/>
                      <a:pt x="1389" y="310"/>
                      <a:pt x="1397" y="301"/>
                    </a:cubicBezTo>
                    <a:cubicBezTo>
                      <a:pt x="1431" y="262"/>
                      <a:pt x="1479" y="239"/>
                      <a:pt x="1531" y="239"/>
                    </a:cubicBezTo>
                    <a:cubicBezTo>
                      <a:pt x="1583" y="239"/>
                      <a:pt x="1632" y="262"/>
                      <a:pt x="1665" y="301"/>
                    </a:cubicBezTo>
                    <a:cubicBezTo>
                      <a:pt x="1669" y="306"/>
                      <a:pt x="1675" y="309"/>
                      <a:pt x="1682" y="309"/>
                    </a:cubicBezTo>
                    <a:cubicBezTo>
                      <a:pt x="1687" y="309"/>
                      <a:pt x="1692" y="307"/>
                      <a:pt x="1696" y="304"/>
                    </a:cubicBezTo>
                    <a:close/>
                    <a:moveTo>
                      <a:pt x="994" y="109"/>
                    </a:moveTo>
                    <a:cubicBezTo>
                      <a:pt x="1003" y="101"/>
                      <a:pt x="1004" y="88"/>
                      <a:pt x="996" y="78"/>
                    </a:cubicBezTo>
                    <a:cubicBezTo>
                      <a:pt x="955" y="29"/>
                      <a:pt x="894" y="0"/>
                      <a:pt x="829" y="0"/>
                    </a:cubicBezTo>
                    <a:cubicBezTo>
                      <a:pt x="764" y="0"/>
                      <a:pt x="703" y="29"/>
                      <a:pt x="661" y="78"/>
                    </a:cubicBezTo>
                    <a:cubicBezTo>
                      <a:pt x="654" y="88"/>
                      <a:pt x="655" y="101"/>
                      <a:pt x="664" y="109"/>
                    </a:cubicBezTo>
                    <a:cubicBezTo>
                      <a:pt x="673" y="117"/>
                      <a:pt x="687" y="116"/>
                      <a:pt x="695" y="107"/>
                    </a:cubicBezTo>
                    <a:cubicBezTo>
                      <a:pt x="728" y="67"/>
                      <a:pt x="777" y="44"/>
                      <a:pt x="829" y="44"/>
                    </a:cubicBezTo>
                    <a:cubicBezTo>
                      <a:pt x="881" y="44"/>
                      <a:pt x="929" y="67"/>
                      <a:pt x="963" y="107"/>
                    </a:cubicBezTo>
                    <a:cubicBezTo>
                      <a:pt x="967" y="112"/>
                      <a:pt x="973" y="114"/>
                      <a:pt x="980" y="114"/>
                    </a:cubicBezTo>
                    <a:cubicBezTo>
                      <a:pt x="985" y="114"/>
                      <a:pt x="990" y="113"/>
                      <a:pt x="994" y="109"/>
                    </a:cubicBezTo>
                    <a:close/>
                    <a:moveTo>
                      <a:pt x="1462" y="109"/>
                    </a:moveTo>
                    <a:cubicBezTo>
                      <a:pt x="1471" y="101"/>
                      <a:pt x="1472" y="88"/>
                      <a:pt x="1465" y="78"/>
                    </a:cubicBezTo>
                    <a:cubicBezTo>
                      <a:pt x="1423" y="29"/>
                      <a:pt x="1362" y="0"/>
                      <a:pt x="1297" y="0"/>
                    </a:cubicBezTo>
                    <a:cubicBezTo>
                      <a:pt x="1232" y="0"/>
                      <a:pt x="1171" y="29"/>
                      <a:pt x="1130" y="78"/>
                    </a:cubicBezTo>
                    <a:cubicBezTo>
                      <a:pt x="1122" y="88"/>
                      <a:pt x="1123" y="101"/>
                      <a:pt x="1132" y="109"/>
                    </a:cubicBezTo>
                    <a:cubicBezTo>
                      <a:pt x="1142" y="117"/>
                      <a:pt x="1155" y="116"/>
                      <a:pt x="1163" y="107"/>
                    </a:cubicBezTo>
                    <a:cubicBezTo>
                      <a:pt x="1197" y="67"/>
                      <a:pt x="1245" y="44"/>
                      <a:pt x="1297" y="44"/>
                    </a:cubicBezTo>
                    <a:cubicBezTo>
                      <a:pt x="1349" y="44"/>
                      <a:pt x="1398" y="67"/>
                      <a:pt x="1431" y="107"/>
                    </a:cubicBezTo>
                    <a:cubicBezTo>
                      <a:pt x="1435" y="112"/>
                      <a:pt x="1441" y="114"/>
                      <a:pt x="1448" y="114"/>
                    </a:cubicBezTo>
                    <a:cubicBezTo>
                      <a:pt x="1453" y="114"/>
                      <a:pt x="1458" y="113"/>
                      <a:pt x="1462" y="109"/>
                    </a:cubicBezTo>
                    <a:close/>
                    <a:moveTo>
                      <a:pt x="2060" y="662"/>
                    </a:moveTo>
                    <a:cubicBezTo>
                      <a:pt x="2018" y="612"/>
                      <a:pt x="1957" y="584"/>
                      <a:pt x="1893" y="584"/>
                    </a:cubicBezTo>
                    <a:cubicBezTo>
                      <a:pt x="1839" y="584"/>
                      <a:pt x="1788" y="603"/>
                      <a:pt x="1749" y="638"/>
                    </a:cubicBezTo>
                    <a:cubicBezTo>
                      <a:pt x="1760" y="647"/>
                      <a:pt x="1771" y="657"/>
                      <a:pt x="1781" y="667"/>
                    </a:cubicBezTo>
                    <a:cubicBezTo>
                      <a:pt x="1781" y="667"/>
                      <a:pt x="1781" y="668"/>
                      <a:pt x="1781" y="668"/>
                    </a:cubicBezTo>
                    <a:cubicBezTo>
                      <a:pt x="1813" y="642"/>
                      <a:pt x="1852" y="628"/>
                      <a:pt x="1893" y="628"/>
                    </a:cubicBezTo>
                    <a:cubicBezTo>
                      <a:pt x="1944" y="628"/>
                      <a:pt x="1993" y="651"/>
                      <a:pt x="2026" y="690"/>
                    </a:cubicBezTo>
                    <a:cubicBezTo>
                      <a:pt x="2031" y="695"/>
                      <a:pt x="2037" y="698"/>
                      <a:pt x="2043" y="698"/>
                    </a:cubicBezTo>
                    <a:cubicBezTo>
                      <a:pt x="2048" y="698"/>
                      <a:pt x="2053" y="696"/>
                      <a:pt x="2057" y="693"/>
                    </a:cubicBezTo>
                    <a:cubicBezTo>
                      <a:pt x="2067" y="685"/>
                      <a:pt x="2068" y="671"/>
                      <a:pt x="2060" y="662"/>
                    </a:cubicBezTo>
                    <a:close/>
                    <a:moveTo>
                      <a:pt x="377" y="638"/>
                    </a:moveTo>
                    <a:cubicBezTo>
                      <a:pt x="338" y="603"/>
                      <a:pt x="287" y="584"/>
                      <a:pt x="233" y="584"/>
                    </a:cubicBezTo>
                    <a:cubicBezTo>
                      <a:pt x="169" y="584"/>
                      <a:pt x="108" y="612"/>
                      <a:pt x="66" y="662"/>
                    </a:cubicBezTo>
                    <a:cubicBezTo>
                      <a:pt x="58" y="671"/>
                      <a:pt x="59" y="685"/>
                      <a:pt x="69" y="693"/>
                    </a:cubicBezTo>
                    <a:cubicBezTo>
                      <a:pt x="78" y="701"/>
                      <a:pt x="92" y="699"/>
                      <a:pt x="100" y="690"/>
                    </a:cubicBezTo>
                    <a:cubicBezTo>
                      <a:pt x="133" y="651"/>
                      <a:pt x="182" y="628"/>
                      <a:pt x="233" y="628"/>
                    </a:cubicBezTo>
                    <a:cubicBezTo>
                      <a:pt x="274" y="628"/>
                      <a:pt x="313" y="642"/>
                      <a:pt x="344" y="667"/>
                    </a:cubicBezTo>
                    <a:cubicBezTo>
                      <a:pt x="355" y="657"/>
                      <a:pt x="366" y="647"/>
                      <a:pt x="377" y="638"/>
                    </a:cubicBezTo>
                    <a:close/>
                    <a:moveTo>
                      <a:pt x="2052" y="1567"/>
                    </a:moveTo>
                    <a:cubicBezTo>
                      <a:pt x="2030" y="1534"/>
                      <a:pt x="2004" y="1506"/>
                      <a:pt x="1974" y="1492"/>
                    </a:cubicBezTo>
                    <a:cubicBezTo>
                      <a:pt x="1885" y="1451"/>
                      <a:pt x="1720" y="1449"/>
                      <a:pt x="1720" y="1449"/>
                    </a:cubicBezTo>
                    <a:cubicBezTo>
                      <a:pt x="1720" y="1449"/>
                      <a:pt x="1614" y="1537"/>
                      <a:pt x="1533" y="1602"/>
                    </a:cubicBezTo>
                    <a:cubicBezTo>
                      <a:pt x="1530" y="1604"/>
                      <a:pt x="1527" y="1604"/>
                      <a:pt x="1524" y="1602"/>
                    </a:cubicBezTo>
                    <a:cubicBezTo>
                      <a:pt x="1464" y="1555"/>
                      <a:pt x="1337" y="1449"/>
                      <a:pt x="1337" y="1449"/>
                    </a:cubicBezTo>
                    <a:cubicBezTo>
                      <a:pt x="1337" y="1449"/>
                      <a:pt x="1197" y="1451"/>
                      <a:pt x="1105" y="1483"/>
                    </a:cubicBezTo>
                    <a:cubicBezTo>
                      <a:pt x="1123" y="1499"/>
                      <a:pt x="1139" y="1519"/>
                      <a:pt x="1155" y="1543"/>
                    </a:cubicBezTo>
                    <a:cubicBezTo>
                      <a:pt x="1208" y="1621"/>
                      <a:pt x="1235" y="1714"/>
                      <a:pt x="1235" y="1811"/>
                    </a:cubicBezTo>
                    <a:cubicBezTo>
                      <a:pt x="1235" y="1814"/>
                      <a:pt x="1235" y="1814"/>
                      <a:pt x="1235" y="1814"/>
                    </a:cubicBezTo>
                    <a:cubicBezTo>
                      <a:pt x="1235" y="1821"/>
                      <a:pt x="1234" y="1829"/>
                      <a:pt x="1231" y="1836"/>
                    </a:cubicBezTo>
                    <a:cubicBezTo>
                      <a:pt x="2102" y="1836"/>
                      <a:pt x="2102" y="1836"/>
                      <a:pt x="2102" y="1836"/>
                    </a:cubicBezTo>
                    <a:cubicBezTo>
                      <a:pt x="2114" y="1836"/>
                      <a:pt x="2124" y="1826"/>
                      <a:pt x="2124" y="1814"/>
                    </a:cubicBezTo>
                    <a:cubicBezTo>
                      <a:pt x="2124" y="1811"/>
                      <a:pt x="2124" y="1811"/>
                      <a:pt x="2124" y="1811"/>
                    </a:cubicBezTo>
                    <a:cubicBezTo>
                      <a:pt x="2124" y="1724"/>
                      <a:pt x="2100" y="1639"/>
                      <a:pt x="2052" y="1567"/>
                    </a:cubicBezTo>
                    <a:close/>
                    <a:moveTo>
                      <a:pt x="1191" y="1811"/>
                    </a:moveTo>
                    <a:cubicBezTo>
                      <a:pt x="1191" y="1724"/>
                      <a:pt x="1167" y="1639"/>
                      <a:pt x="1119" y="1567"/>
                    </a:cubicBezTo>
                    <a:cubicBezTo>
                      <a:pt x="1097" y="1534"/>
                      <a:pt x="1071" y="1506"/>
                      <a:pt x="1042" y="1492"/>
                    </a:cubicBezTo>
                    <a:cubicBezTo>
                      <a:pt x="952" y="1451"/>
                      <a:pt x="787" y="1449"/>
                      <a:pt x="787" y="1449"/>
                    </a:cubicBezTo>
                    <a:cubicBezTo>
                      <a:pt x="787" y="1449"/>
                      <a:pt x="787" y="1449"/>
                      <a:pt x="787" y="1449"/>
                    </a:cubicBezTo>
                    <a:cubicBezTo>
                      <a:pt x="787" y="1449"/>
                      <a:pt x="722" y="1541"/>
                      <a:pt x="592" y="1541"/>
                    </a:cubicBezTo>
                    <a:cubicBezTo>
                      <a:pt x="599" y="1541"/>
                      <a:pt x="599" y="1541"/>
                      <a:pt x="599" y="1541"/>
                    </a:cubicBezTo>
                    <a:cubicBezTo>
                      <a:pt x="469" y="1541"/>
                      <a:pt x="404" y="1449"/>
                      <a:pt x="404" y="1449"/>
                    </a:cubicBezTo>
                    <a:cubicBezTo>
                      <a:pt x="404" y="1449"/>
                      <a:pt x="404" y="1449"/>
                      <a:pt x="404" y="1449"/>
                    </a:cubicBezTo>
                    <a:cubicBezTo>
                      <a:pt x="404" y="1449"/>
                      <a:pt x="239" y="1451"/>
                      <a:pt x="150" y="1492"/>
                    </a:cubicBezTo>
                    <a:cubicBezTo>
                      <a:pt x="120" y="1506"/>
                      <a:pt x="94" y="1534"/>
                      <a:pt x="72" y="1567"/>
                    </a:cubicBezTo>
                    <a:cubicBezTo>
                      <a:pt x="24" y="1639"/>
                      <a:pt x="0" y="1724"/>
                      <a:pt x="0" y="1811"/>
                    </a:cubicBezTo>
                    <a:cubicBezTo>
                      <a:pt x="0" y="1814"/>
                      <a:pt x="0" y="1814"/>
                      <a:pt x="0" y="1814"/>
                    </a:cubicBezTo>
                    <a:cubicBezTo>
                      <a:pt x="0" y="1826"/>
                      <a:pt x="10" y="1836"/>
                      <a:pt x="22" y="1836"/>
                    </a:cubicBezTo>
                    <a:cubicBezTo>
                      <a:pt x="1169" y="1836"/>
                      <a:pt x="1169" y="1836"/>
                      <a:pt x="1169" y="1836"/>
                    </a:cubicBezTo>
                    <a:cubicBezTo>
                      <a:pt x="1181" y="1836"/>
                      <a:pt x="1191" y="1826"/>
                      <a:pt x="1191" y="1814"/>
                    </a:cubicBezTo>
                    <a:lnTo>
                      <a:pt x="1191" y="1811"/>
                    </a:lnTo>
                    <a:close/>
                    <a:moveTo>
                      <a:pt x="1228" y="693"/>
                    </a:moveTo>
                    <a:cubicBezTo>
                      <a:pt x="1237" y="685"/>
                      <a:pt x="1238" y="671"/>
                      <a:pt x="1230" y="662"/>
                    </a:cubicBezTo>
                    <a:cubicBezTo>
                      <a:pt x="1189" y="612"/>
                      <a:pt x="1128" y="584"/>
                      <a:pt x="1063" y="584"/>
                    </a:cubicBezTo>
                    <a:cubicBezTo>
                      <a:pt x="998" y="584"/>
                      <a:pt x="937" y="612"/>
                      <a:pt x="896" y="662"/>
                    </a:cubicBezTo>
                    <a:cubicBezTo>
                      <a:pt x="888" y="671"/>
                      <a:pt x="889" y="685"/>
                      <a:pt x="898" y="693"/>
                    </a:cubicBezTo>
                    <a:cubicBezTo>
                      <a:pt x="908" y="701"/>
                      <a:pt x="921" y="699"/>
                      <a:pt x="929" y="690"/>
                    </a:cubicBezTo>
                    <a:cubicBezTo>
                      <a:pt x="963" y="651"/>
                      <a:pt x="1011" y="628"/>
                      <a:pt x="1063" y="628"/>
                    </a:cubicBezTo>
                    <a:cubicBezTo>
                      <a:pt x="1115" y="628"/>
                      <a:pt x="1163" y="651"/>
                      <a:pt x="1197" y="690"/>
                    </a:cubicBezTo>
                    <a:cubicBezTo>
                      <a:pt x="1201" y="695"/>
                      <a:pt x="1207" y="698"/>
                      <a:pt x="1214" y="698"/>
                    </a:cubicBezTo>
                    <a:cubicBezTo>
                      <a:pt x="1219" y="698"/>
                      <a:pt x="1224" y="696"/>
                      <a:pt x="1228" y="693"/>
                    </a:cubicBezTo>
                    <a:close/>
                    <a:moveTo>
                      <a:pt x="1255" y="1157"/>
                    </a:moveTo>
                    <a:cubicBezTo>
                      <a:pt x="1275" y="1207"/>
                      <a:pt x="1328" y="1336"/>
                      <a:pt x="1356" y="1362"/>
                    </a:cubicBezTo>
                    <a:cubicBezTo>
                      <a:pt x="1358" y="1363"/>
                      <a:pt x="1361" y="1365"/>
                      <a:pt x="1363" y="1367"/>
                    </a:cubicBezTo>
                    <a:cubicBezTo>
                      <a:pt x="1363" y="1414"/>
                      <a:pt x="1363" y="1414"/>
                      <a:pt x="1363" y="1414"/>
                    </a:cubicBezTo>
                    <a:cubicBezTo>
                      <a:pt x="1365" y="1415"/>
                      <a:pt x="1365" y="1415"/>
                      <a:pt x="1365" y="1415"/>
                    </a:cubicBezTo>
                    <a:cubicBezTo>
                      <a:pt x="1365" y="1416"/>
                      <a:pt x="1383" y="1430"/>
                      <a:pt x="1407" y="1450"/>
                    </a:cubicBezTo>
                    <a:cubicBezTo>
                      <a:pt x="1407" y="1399"/>
                      <a:pt x="1407" y="1399"/>
                      <a:pt x="1407" y="1399"/>
                    </a:cubicBezTo>
                    <a:cubicBezTo>
                      <a:pt x="1444" y="1422"/>
                      <a:pt x="1492" y="1445"/>
                      <a:pt x="1528" y="1445"/>
                    </a:cubicBezTo>
                    <a:cubicBezTo>
                      <a:pt x="1565" y="1445"/>
                      <a:pt x="1613" y="1422"/>
                      <a:pt x="1649" y="1399"/>
                    </a:cubicBezTo>
                    <a:cubicBezTo>
                      <a:pt x="1649" y="1450"/>
                      <a:pt x="1649" y="1450"/>
                      <a:pt x="1649" y="1450"/>
                    </a:cubicBezTo>
                    <a:cubicBezTo>
                      <a:pt x="1675" y="1430"/>
                      <a:pt x="1692" y="1415"/>
                      <a:pt x="1692" y="1415"/>
                    </a:cubicBezTo>
                    <a:cubicBezTo>
                      <a:pt x="1693" y="1414"/>
                      <a:pt x="1693" y="1414"/>
                      <a:pt x="1693" y="1414"/>
                    </a:cubicBezTo>
                    <a:cubicBezTo>
                      <a:pt x="1693" y="1368"/>
                      <a:pt x="1693" y="1368"/>
                      <a:pt x="1693" y="1368"/>
                    </a:cubicBezTo>
                    <a:cubicBezTo>
                      <a:pt x="1696" y="1365"/>
                      <a:pt x="1699" y="1363"/>
                      <a:pt x="1701" y="1362"/>
                    </a:cubicBezTo>
                    <a:cubicBezTo>
                      <a:pt x="1729" y="1336"/>
                      <a:pt x="1782" y="1207"/>
                      <a:pt x="1802" y="1157"/>
                    </a:cubicBezTo>
                    <a:cubicBezTo>
                      <a:pt x="1837" y="1135"/>
                      <a:pt x="1846" y="1097"/>
                      <a:pt x="1849" y="1081"/>
                    </a:cubicBezTo>
                    <a:cubicBezTo>
                      <a:pt x="1849" y="1079"/>
                      <a:pt x="1849" y="1078"/>
                      <a:pt x="1849" y="1076"/>
                    </a:cubicBezTo>
                    <a:cubicBezTo>
                      <a:pt x="1796" y="1101"/>
                      <a:pt x="1796" y="1101"/>
                      <a:pt x="1796" y="1101"/>
                    </a:cubicBezTo>
                    <a:cubicBezTo>
                      <a:pt x="1791" y="1109"/>
                      <a:pt x="1784" y="1117"/>
                      <a:pt x="1774" y="1122"/>
                    </a:cubicBezTo>
                    <a:cubicBezTo>
                      <a:pt x="1769" y="1124"/>
                      <a:pt x="1766" y="1129"/>
                      <a:pt x="1764" y="1134"/>
                    </a:cubicBezTo>
                    <a:cubicBezTo>
                      <a:pt x="1731" y="1217"/>
                      <a:pt x="1687" y="1315"/>
                      <a:pt x="1671" y="1329"/>
                    </a:cubicBezTo>
                    <a:cubicBezTo>
                      <a:pt x="1644" y="1353"/>
                      <a:pt x="1568" y="1401"/>
                      <a:pt x="1528" y="1401"/>
                    </a:cubicBezTo>
                    <a:cubicBezTo>
                      <a:pt x="1489" y="1401"/>
                      <a:pt x="1413" y="1353"/>
                      <a:pt x="1385" y="1329"/>
                    </a:cubicBezTo>
                    <a:cubicBezTo>
                      <a:pt x="1370" y="1315"/>
                      <a:pt x="1326" y="1217"/>
                      <a:pt x="1293" y="1134"/>
                    </a:cubicBezTo>
                    <a:cubicBezTo>
                      <a:pt x="1291" y="1129"/>
                      <a:pt x="1287" y="1124"/>
                      <a:pt x="1283" y="1122"/>
                    </a:cubicBezTo>
                    <a:cubicBezTo>
                      <a:pt x="1273" y="1117"/>
                      <a:pt x="1266" y="1109"/>
                      <a:pt x="1261" y="1101"/>
                    </a:cubicBezTo>
                    <a:cubicBezTo>
                      <a:pt x="1208" y="1076"/>
                      <a:pt x="1208" y="1076"/>
                      <a:pt x="1208" y="1076"/>
                    </a:cubicBezTo>
                    <a:cubicBezTo>
                      <a:pt x="1208" y="1078"/>
                      <a:pt x="1208" y="1080"/>
                      <a:pt x="1208" y="1083"/>
                    </a:cubicBezTo>
                    <a:cubicBezTo>
                      <a:pt x="1212" y="1102"/>
                      <a:pt x="1222" y="1136"/>
                      <a:pt x="1255" y="1157"/>
                    </a:cubicBezTo>
                    <a:close/>
                    <a:moveTo>
                      <a:pt x="322" y="1157"/>
                    </a:moveTo>
                    <a:cubicBezTo>
                      <a:pt x="342" y="1207"/>
                      <a:pt x="395" y="1336"/>
                      <a:pt x="423" y="1362"/>
                    </a:cubicBezTo>
                    <a:cubicBezTo>
                      <a:pt x="425" y="1363"/>
                      <a:pt x="428" y="1365"/>
                      <a:pt x="431" y="1368"/>
                    </a:cubicBezTo>
                    <a:cubicBezTo>
                      <a:pt x="431" y="1411"/>
                      <a:pt x="431" y="1411"/>
                      <a:pt x="431" y="1411"/>
                    </a:cubicBezTo>
                    <a:cubicBezTo>
                      <a:pt x="440" y="1423"/>
                      <a:pt x="440" y="1423"/>
                      <a:pt x="440" y="1423"/>
                    </a:cubicBezTo>
                    <a:cubicBezTo>
                      <a:pt x="441" y="1425"/>
                      <a:pt x="452" y="1440"/>
                      <a:pt x="475" y="1457"/>
                    </a:cubicBezTo>
                    <a:cubicBezTo>
                      <a:pt x="475" y="1399"/>
                      <a:pt x="475" y="1399"/>
                      <a:pt x="475" y="1399"/>
                    </a:cubicBezTo>
                    <a:cubicBezTo>
                      <a:pt x="511" y="1422"/>
                      <a:pt x="559" y="1445"/>
                      <a:pt x="595" y="1445"/>
                    </a:cubicBezTo>
                    <a:cubicBezTo>
                      <a:pt x="632" y="1445"/>
                      <a:pt x="680" y="1422"/>
                      <a:pt x="717" y="1399"/>
                    </a:cubicBezTo>
                    <a:cubicBezTo>
                      <a:pt x="717" y="1457"/>
                      <a:pt x="717" y="1457"/>
                      <a:pt x="717" y="1457"/>
                    </a:cubicBezTo>
                    <a:cubicBezTo>
                      <a:pt x="740" y="1440"/>
                      <a:pt x="751" y="1424"/>
                      <a:pt x="751" y="1423"/>
                    </a:cubicBezTo>
                    <a:cubicBezTo>
                      <a:pt x="761" y="1411"/>
                      <a:pt x="761" y="1411"/>
                      <a:pt x="761" y="1411"/>
                    </a:cubicBezTo>
                    <a:cubicBezTo>
                      <a:pt x="761" y="1367"/>
                      <a:pt x="761" y="1367"/>
                      <a:pt x="761" y="1367"/>
                    </a:cubicBezTo>
                    <a:cubicBezTo>
                      <a:pt x="763" y="1365"/>
                      <a:pt x="766" y="1363"/>
                      <a:pt x="768" y="1362"/>
                    </a:cubicBezTo>
                    <a:cubicBezTo>
                      <a:pt x="796" y="1336"/>
                      <a:pt x="849" y="1207"/>
                      <a:pt x="869" y="1157"/>
                    </a:cubicBezTo>
                    <a:cubicBezTo>
                      <a:pt x="904" y="1135"/>
                      <a:pt x="913" y="1097"/>
                      <a:pt x="916" y="1081"/>
                    </a:cubicBezTo>
                    <a:cubicBezTo>
                      <a:pt x="916" y="1079"/>
                      <a:pt x="916" y="1078"/>
                      <a:pt x="916" y="1076"/>
                    </a:cubicBezTo>
                    <a:cubicBezTo>
                      <a:pt x="863" y="1101"/>
                      <a:pt x="863" y="1101"/>
                      <a:pt x="863" y="1101"/>
                    </a:cubicBezTo>
                    <a:cubicBezTo>
                      <a:pt x="858" y="1109"/>
                      <a:pt x="851" y="1117"/>
                      <a:pt x="841" y="1122"/>
                    </a:cubicBezTo>
                    <a:cubicBezTo>
                      <a:pt x="836" y="1124"/>
                      <a:pt x="833" y="1129"/>
                      <a:pt x="831" y="1134"/>
                    </a:cubicBezTo>
                    <a:cubicBezTo>
                      <a:pt x="798" y="1217"/>
                      <a:pt x="754" y="1315"/>
                      <a:pt x="738" y="1329"/>
                    </a:cubicBezTo>
                    <a:cubicBezTo>
                      <a:pt x="711" y="1353"/>
                      <a:pt x="635" y="1401"/>
                      <a:pt x="595" y="1401"/>
                    </a:cubicBezTo>
                    <a:cubicBezTo>
                      <a:pt x="556" y="1401"/>
                      <a:pt x="480" y="1353"/>
                      <a:pt x="452" y="1329"/>
                    </a:cubicBezTo>
                    <a:cubicBezTo>
                      <a:pt x="437" y="1315"/>
                      <a:pt x="393" y="1217"/>
                      <a:pt x="360" y="1134"/>
                    </a:cubicBezTo>
                    <a:cubicBezTo>
                      <a:pt x="358" y="1129"/>
                      <a:pt x="354" y="1124"/>
                      <a:pt x="350" y="1122"/>
                    </a:cubicBezTo>
                    <a:cubicBezTo>
                      <a:pt x="339" y="1117"/>
                      <a:pt x="333" y="1109"/>
                      <a:pt x="328" y="1101"/>
                    </a:cubicBezTo>
                    <a:cubicBezTo>
                      <a:pt x="275" y="1076"/>
                      <a:pt x="275" y="1076"/>
                      <a:pt x="275" y="1076"/>
                    </a:cubicBezTo>
                    <a:cubicBezTo>
                      <a:pt x="275" y="1078"/>
                      <a:pt x="275" y="1080"/>
                      <a:pt x="275" y="1083"/>
                    </a:cubicBezTo>
                    <a:cubicBezTo>
                      <a:pt x="279" y="1102"/>
                      <a:pt x="289" y="1136"/>
                      <a:pt x="322" y="1157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lIns="41148" tIns="20574" rIns="41148" bIns="20574"/>
              <a:lstStyle/>
              <a:p>
                <a:pPr>
                  <a:defRPr/>
                </a:pPr>
                <a:endParaRPr lang="en-GB" dirty="0">
                  <a:latin typeface="Gill Sans MT" panose="020B0502020104020203" pitchFamily="34" charset="0"/>
                </a:endParaRPr>
              </a:p>
            </p:txBody>
          </p:sp>
          <p:sp>
            <p:nvSpPr>
              <p:cNvPr id="18512" name="Freeform 21"/>
              <p:cNvSpPr>
                <a:spLocks noEditPoints="1"/>
              </p:cNvSpPr>
              <p:nvPr/>
            </p:nvSpPr>
            <p:spPr bwMode="auto">
              <a:xfrm>
                <a:off x="5540884" y="3203448"/>
                <a:ext cx="1150239" cy="575691"/>
              </a:xfrm>
              <a:custGeom>
                <a:avLst/>
                <a:gdLst>
                  <a:gd name="T0" fmla="*/ 2147483646 w 1612"/>
                  <a:gd name="T1" fmla="*/ 2147483646 h 806"/>
                  <a:gd name="T2" fmla="*/ 2147483646 w 1612"/>
                  <a:gd name="T3" fmla="*/ 2147483646 h 806"/>
                  <a:gd name="T4" fmla="*/ 2147483646 w 1612"/>
                  <a:gd name="T5" fmla="*/ 2147483646 h 806"/>
                  <a:gd name="T6" fmla="*/ 2147483646 w 1612"/>
                  <a:gd name="T7" fmla="*/ 2147483646 h 806"/>
                  <a:gd name="T8" fmla="*/ 2147483646 w 1612"/>
                  <a:gd name="T9" fmla="*/ 2147483646 h 806"/>
                  <a:gd name="T10" fmla="*/ 2147483646 w 1612"/>
                  <a:gd name="T11" fmla="*/ 2147483646 h 806"/>
                  <a:gd name="T12" fmla="*/ 2147483646 w 1612"/>
                  <a:gd name="T13" fmla="*/ 2147483646 h 806"/>
                  <a:gd name="T14" fmla="*/ 2147483646 w 1612"/>
                  <a:gd name="T15" fmla="*/ 2147483646 h 806"/>
                  <a:gd name="T16" fmla="*/ 2147483646 w 1612"/>
                  <a:gd name="T17" fmla="*/ 2147483646 h 806"/>
                  <a:gd name="T18" fmla="*/ 2147483646 w 1612"/>
                  <a:gd name="T19" fmla="*/ 2147483646 h 806"/>
                  <a:gd name="T20" fmla="*/ 2147483646 w 1612"/>
                  <a:gd name="T21" fmla="*/ 2147483646 h 806"/>
                  <a:gd name="T22" fmla="*/ 2147483646 w 1612"/>
                  <a:gd name="T23" fmla="*/ 0 h 806"/>
                  <a:gd name="T24" fmla="*/ 2147483646 w 1612"/>
                  <a:gd name="T25" fmla="*/ 2147483646 h 806"/>
                  <a:gd name="T26" fmla="*/ 2147483646 w 1612"/>
                  <a:gd name="T27" fmla="*/ 2147483646 h 806"/>
                  <a:gd name="T28" fmla="*/ 2147483646 w 1612"/>
                  <a:gd name="T29" fmla="*/ 2147483646 h 806"/>
                  <a:gd name="T30" fmla="*/ 2147483646 w 1612"/>
                  <a:gd name="T31" fmla="*/ 0 h 806"/>
                  <a:gd name="T32" fmla="*/ 0 w 1612"/>
                  <a:gd name="T33" fmla="*/ 2147483646 h 806"/>
                  <a:gd name="T34" fmla="*/ 2147483646 w 1612"/>
                  <a:gd name="T35" fmla="*/ 2147483646 h 806"/>
                  <a:gd name="T36" fmla="*/ 2147483646 w 1612"/>
                  <a:gd name="T37" fmla="*/ 2147483646 h 806"/>
                  <a:gd name="T38" fmla="*/ 2147483646 w 1612"/>
                  <a:gd name="T39" fmla="*/ 2147483646 h 806"/>
                  <a:gd name="T40" fmla="*/ 2147483646 w 1612"/>
                  <a:gd name="T41" fmla="*/ 2147483646 h 806"/>
                  <a:gd name="T42" fmla="*/ 2147483646 w 1612"/>
                  <a:gd name="T43" fmla="*/ 2147483646 h 806"/>
                  <a:gd name="T44" fmla="*/ 2147483646 w 1612"/>
                  <a:gd name="T45" fmla="*/ 2147483646 h 806"/>
                  <a:gd name="T46" fmla="*/ 2147483646 w 1612"/>
                  <a:gd name="T47" fmla="*/ 2147483646 h 806"/>
                  <a:gd name="T48" fmla="*/ 2147483646 w 1612"/>
                  <a:gd name="T49" fmla="*/ 2147483646 h 806"/>
                  <a:gd name="T50" fmla="*/ 2147483646 w 1612"/>
                  <a:gd name="T51" fmla="*/ 2147483646 h 806"/>
                  <a:gd name="T52" fmla="*/ 2147483646 w 1612"/>
                  <a:gd name="T53" fmla="*/ 2147483646 h 806"/>
                  <a:gd name="T54" fmla="*/ 2147483646 w 1612"/>
                  <a:gd name="T55" fmla="*/ 2147483646 h 806"/>
                  <a:gd name="T56" fmla="*/ 2147483646 w 1612"/>
                  <a:gd name="T57" fmla="*/ 2147483646 h 806"/>
                  <a:gd name="T58" fmla="*/ 2147483646 w 1612"/>
                  <a:gd name="T59" fmla="*/ 2147483646 h 806"/>
                  <a:gd name="T60" fmla="*/ 2147483646 w 1612"/>
                  <a:gd name="T61" fmla="*/ 2147483646 h 806"/>
                  <a:gd name="T62" fmla="*/ 2147483646 w 1612"/>
                  <a:gd name="T63" fmla="*/ 2147483646 h 806"/>
                  <a:gd name="T64" fmla="*/ 2147483646 w 1612"/>
                  <a:gd name="T65" fmla="*/ 2147483646 h 806"/>
                  <a:gd name="T66" fmla="*/ 2147483646 w 1612"/>
                  <a:gd name="T67" fmla="*/ 2147483646 h 806"/>
                  <a:gd name="T68" fmla="*/ 2147483646 w 1612"/>
                  <a:gd name="T69" fmla="*/ 2147483646 h 806"/>
                  <a:gd name="T70" fmla="*/ 2147483646 w 1612"/>
                  <a:gd name="T71" fmla="*/ 2147483646 h 806"/>
                  <a:gd name="T72" fmla="*/ 2147483646 w 1612"/>
                  <a:gd name="T73" fmla="*/ 2147483646 h 806"/>
                  <a:gd name="T74" fmla="*/ 2147483646 w 1612"/>
                  <a:gd name="T75" fmla="*/ 2147483646 h 806"/>
                  <a:gd name="T76" fmla="*/ 2147483646 w 1612"/>
                  <a:gd name="T77" fmla="*/ 2147483646 h 806"/>
                  <a:gd name="T78" fmla="*/ 2147483646 w 1612"/>
                  <a:gd name="T79" fmla="*/ 2147483646 h 80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1612" h="806">
                    <a:moveTo>
                      <a:pt x="1542" y="422"/>
                    </a:moveTo>
                    <a:cubicBezTo>
                      <a:pt x="1542" y="422"/>
                      <a:pt x="1542" y="421"/>
                      <a:pt x="1542" y="421"/>
                    </a:cubicBezTo>
                    <a:cubicBezTo>
                      <a:pt x="1541" y="422"/>
                      <a:pt x="1536" y="437"/>
                      <a:pt x="1508" y="469"/>
                    </a:cubicBezTo>
                    <a:cubicBezTo>
                      <a:pt x="1507" y="470"/>
                      <a:pt x="1506" y="470"/>
                      <a:pt x="1505" y="470"/>
                    </a:cubicBezTo>
                    <a:cubicBezTo>
                      <a:pt x="1485" y="470"/>
                      <a:pt x="1485" y="470"/>
                      <a:pt x="1485" y="470"/>
                    </a:cubicBezTo>
                    <a:cubicBezTo>
                      <a:pt x="1484" y="470"/>
                      <a:pt x="1484" y="470"/>
                      <a:pt x="1483" y="470"/>
                    </a:cubicBezTo>
                    <a:cubicBezTo>
                      <a:pt x="1074" y="253"/>
                      <a:pt x="1074" y="253"/>
                      <a:pt x="1074" y="253"/>
                    </a:cubicBezTo>
                    <a:cubicBezTo>
                      <a:pt x="1073" y="253"/>
                      <a:pt x="1071" y="253"/>
                      <a:pt x="1070" y="253"/>
                    </a:cubicBezTo>
                    <a:cubicBezTo>
                      <a:pt x="979" y="283"/>
                      <a:pt x="980" y="472"/>
                      <a:pt x="949" y="445"/>
                    </a:cubicBezTo>
                    <a:cubicBezTo>
                      <a:pt x="949" y="444"/>
                      <a:pt x="949" y="444"/>
                      <a:pt x="949" y="444"/>
                    </a:cubicBezTo>
                    <a:cubicBezTo>
                      <a:pt x="936" y="410"/>
                      <a:pt x="932" y="354"/>
                      <a:pt x="932" y="315"/>
                    </a:cubicBezTo>
                    <a:cubicBezTo>
                      <a:pt x="932" y="141"/>
                      <a:pt x="1067" y="0"/>
                      <a:pt x="1242" y="0"/>
                    </a:cubicBezTo>
                    <a:cubicBezTo>
                      <a:pt x="1418" y="0"/>
                      <a:pt x="1553" y="141"/>
                      <a:pt x="1553" y="315"/>
                    </a:cubicBezTo>
                    <a:cubicBezTo>
                      <a:pt x="1553" y="353"/>
                      <a:pt x="1554" y="389"/>
                      <a:pt x="1542" y="422"/>
                    </a:cubicBezTo>
                    <a:close/>
                    <a:moveTo>
                      <a:pt x="619" y="317"/>
                    </a:moveTo>
                    <a:cubicBezTo>
                      <a:pt x="619" y="142"/>
                      <a:pt x="485" y="0"/>
                      <a:pt x="310" y="0"/>
                    </a:cubicBezTo>
                    <a:cubicBezTo>
                      <a:pt x="134" y="0"/>
                      <a:pt x="0" y="142"/>
                      <a:pt x="0" y="317"/>
                    </a:cubicBezTo>
                    <a:cubicBezTo>
                      <a:pt x="0" y="356"/>
                      <a:pt x="0" y="393"/>
                      <a:pt x="12" y="427"/>
                    </a:cubicBezTo>
                    <a:cubicBezTo>
                      <a:pt x="12" y="428"/>
                      <a:pt x="12" y="428"/>
                      <a:pt x="12" y="428"/>
                    </a:cubicBezTo>
                    <a:cubicBezTo>
                      <a:pt x="43" y="456"/>
                      <a:pt x="43" y="467"/>
                      <a:pt x="43" y="467"/>
                    </a:cubicBezTo>
                    <a:cubicBezTo>
                      <a:pt x="64" y="469"/>
                      <a:pt x="64" y="469"/>
                      <a:pt x="64" y="469"/>
                    </a:cubicBezTo>
                    <a:cubicBezTo>
                      <a:pt x="64" y="469"/>
                      <a:pt x="47" y="283"/>
                      <a:pt x="140" y="254"/>
                    </a:cubicBezTo>
                    <a:cubicBezTo>
                      <a:pt x="140" y="254"/>
                      <a:pt x="512" y="418"/>
                      <a:pt x="547" y="240"/>
                    </a:cubicBezTo>
                    <a:cubicBezTo>
                      <a:pt x="550" y="462"/>
                      <a:pt x="550" y="473"/>
                      <a:pt x="550" y="473"/>
                    </a:cubicBezTo>
                    <a:cubicBezTo>
                      <a:pt x="573" y="473"/>
                      <a:pt x="573" y="473"/>
                      <a:pt x="573" y="473"/>
                    </a:cubicBezTo>
                    <a:cubicBezTo>
                      <a:pt x="602" y="440"/>
                      <a:pt x="607" y="424"/>
                      <a:pt x="608" y="424"/>
                    </a:cubicBezTo>
                    <a:cubicBezTo>
                      <a:pt x="608" y="424"/>
                      <a:pt x="608" y="424"/>
                      <a:pt x="608" y="424"/>
                    </a:cubicBezTo>
                    <a:cubicBezTo>
                      <a:pt x="620" y="391"/>
                      <a:pt x="619" y="355"/>
                      <a:pt x="619" y="317"/>
                    </a:cubicBezTo>
                    <a:close/>
                    <a:moveTo>
                      <a:pt x="1033" y="780"/>
                    </a:moveTo>
                    <a:cubicBezTo>
                      <a:pt x="1011" y="755"/>
                      <a:pt x="982" y="699"/>
                      <a:pt x="946" y="612"/>
                    </a:cubicBezTo>
                    <a:cubicBezTo>
                      <a:pt x="943" y="671"/>
                      <a:pt x="933" y="750"/>
                      <a:pt x="872" y="756"/>
                    </a:cubicBezTo>
                    <a:cubicBezTo>
                      <a:pt x="899" y="783"/>
                      <a:pt x="925" y="798"/>
                      <a:pt x="949" y="806"/>
                    </a:cubicBezTo>
                    <a:cubicBezTo>
                      <a:pt x="984" y="802"/>
                      <a:pt x="1015" y="800"/>
                      <a:pt x="1033" y="799"/>
                    </a:cubicBezTo>
                    <a:lnTo>
                      <a:pt x="1033" y="780"/>
                    </a:lnTo>
                    <a:close/>
                    <a:moveTo>
                      <a:pt x="1538" y="613"/>
                    </a:moveTo>
                    <a:cubicBezTo>
                      <a:pt x="1502" y="699"/>
                      <a:pt x="1473" y="755"/>
                      <a:pt x="1451" y="781"/>
                    </a:cubicBezTo>
                    <a:cubicBezTo>
                      <a:pt x="1451" y="799"/>
                      <a:pt x="1451" y="799"/>
                      <a:pt x="1451" y="799"/>
                    </a:cubicBezTo>
                    <a:cubicBezTo>
                      <a:pt x="1469" y="800"/>
                      <a:pt x="1501" y="802"/>
                      <a:pt x="1536" y="806"/>
                    </a:cubicBezTo>
                    <a:cubicBezTo>
                      <a:pt x="1560" y="798"/>
                      <a:pt x="1586" y="783"/>
                      <a:pt x="1612" y="756"/>
                    </a:cubicBezTo>
                    <a:cubicBezTo>
                      <a:pt x="1552" y="750"/>
                      <a:pt x="1542" y="672"/>
                      <a:pt x="1538" y="613"/>
                    </a:cubicBezTo>
                    <a:close/>
                  </a:path>
                </a:pathLst>
              </a:custGeom>
              <a:solidFill>
                <a:schemeClr val="tx2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lIns="41148" tIns="20574" rIns="41148" bIns="20574"/>
              <a:lstStyle/>
              <a:p>
                <a:endParaRPr lang="en-US"/>
              </a:p>
            </p:txBody>
          </p:sp>
        </p:grpSp>
      </p:grpSp>
      <p:grpSp>
        <p:nvGrpSpPr>
          <p:cNvPr id="18445" name="Group 21"/>
          <p:cNvGrpSpPr>
            <a:grpSpLocks/>
          </p:cNvGrpSpPr>
          <p:nvPr/>
        </p:nvGrpSpPr>
        <p:grpSpPr bwMode="auto">
          <a:xfrm>
            <a:off x="4886325" y="3545682"/>
            <a:ext cx="741760" cy="741760"/>
            <a:chOff x="4482478" y="2579814"/>
            <a:chExt cx="990000" cy="989045"/>
          </a:xfrm>
        </p:grpSpPr>
        <p:sp>
          <p:nvSpPr>
            <p:cNvPr id="23" name="Oval 22"/>
            <p:cNvSpPr/>
            <p:nvPr/>
          </p:nvSpPr>
          <p:spPr>
            <a:xfrm>
              <a:off x="4482478" y="2579814"/>
              <a:ext cx="990000" cy="989045"/>
            </a:xfrm>
            <a:prstGeom prst="ellipse">
              <a:avLst/>
            </a:prstGeom>
            <a:solidFill>
              <a:srgbClr val="FFFFFF"/>
            </a:solidFill>
            <a:ln w="38100" cap="rnd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68580" bIns="68580" anchor="ctr"/>
            <a:lstStyle/>
            <a:p>
              <a:pPr algn="ctr">
                <a:defRPr/>
              </a:pPr>
              <a:endParaRPr lang="en-US" sz="3600" b="1" kern="0" dirty="0">
                <a:solidFill>
                  <a:schemeClr val="tx2"/>
                </a:solidFill>
                <a:latin typeface="Gill Sans MT" panose="020B0502020104020203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8508" name="AutoShape 33"/>
            <p:cNvSpPr>
              <a:spLocks noChangeAspect="1" noChangeArrowheads="1" noTextEdit="1"/>
            </p:cNvSpPr>
            <p:nvPr/>
          </p:nvSpPr>
          <p:spPr bwMode="auto">
            <a:xfrm>
              <a:off x="4634578" y="2731437"/>
              <a:ext cx="685800" cy="685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1148" tIns="20574" rIns="41148" bIns="20574"/>
            <a:lstStyle/>
            <a:p>
              <a:endParaRPr lang="en-US"/>
            </a:p>
          </p:txBody>
        </p:sp>
      </p:grpSp>
      <p:grpSp>
        <p:nvGrpSpPr>
          <p:cNvPr id="18446" name="Group 28"/>
          <p:cNvGrpSpPr>
            <a:grpSpLocks/>
          </p:cNvGrpSpPr>
          <p:nvPr/>
        </p:nvGrpSpPr>
        <p:grpSpPr bwMode="auto">
          <a:xfrm>
            <a:off x="4886325" y="4562475"/>
            <a:ext cx="741760" cy="741760"/>
            <a:chOff x="8215090" y="2579814"/>
            <a:chExt cx="990000" cy="989045"/>
          </a:xfrm>
        </p:grpSpPr>
        <p:sp>
          <p:nvSpPr>
            <p:cNvPr id="30" name="Oval 29"/>
            <p:cNvSpPr/>
            <p:nvPr/>
          </p:nvSpPr>
          <p:spPr>
            <a:xfrm>
              <a:off x="8215090" y="2579814"/>
              <a:ext cx="990000" cy="989045"/>
            </a:xfrm>
            <a:prstGeom prst="ellipse">
              <a:avLst/>
            </a:prstGeom>
            <a:solidFill>
              <a:srgbClr val="FFFFFF"/>
            </a:solidFill>
            <a:ln w="38100" cap="rnd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68580" bIns="68580" anchor="ctr"/>
            <a:lstStyle/>
            <a:p>
              <a:pPr algn="ctr">
                <a:defRPr/>
              </a:pPr>
              <a:endParaRPr lang="en-US" sz="3600" b="1" kern="0" dirty="0">
                <a:solidFill>
                  <a:schemeClr val="tx2"/>
                </a:solidFill>
                <a:latin typeface="Gill Sans MT" panose="020B0502020104020203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18500" name="Group 30"/>
            <p:cNvGrpSpPr>
              <a:grpSpLocks/>
            </p:cNvGrpSpPr>
            <p:nvPr/>
          </p:nvGrpSpPr>
          <p:grpSpPr bwMode="auto">
            <a:xfrm>
              <a:off x="8367190" y="2731437"/>
              <a:ext cx="685800" cy="685800"/>
              <a:chOff x="5273801" y="2606040"/>
              <a:chExt cx="1644396" cy="1645920"/>
            </a:xfrm>
          </p:grpSpPr>
          <p:sp>
            <p:nvSpPr>
              <p:cNvPr id="18501" name="AutoShape 9"/>
              <p:cNvSpPr>
                <a:spLocks noChangeAspect="1" noChangeArrowheads="1" noTextEdit="1"/>
              </p:cNvSpPr>
              <p:nvPr/>
            </p:nvSpPr>
            <p:spPr bwMode="auto">
              <a:xfrm>
                <a:off x="5273801" y="2606040"/>
                <a:ext cx="1644396" cy="1645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41148" tIns="20574" rIns="41148" bIns="20574"/>
              <a:lstStyle/>
              <a:p>
                <a:endParaRPr lang="en-US"/>
              </a:p>
            </p:txBody>
          </p:sp>
          <p:grpSp>
            <p:nvGrpSpPr>
              <p:cNvPr id="18502" name="Group 32"/>
              <p:cNvGrpSpPr>
                <a:grpSpLocks/>
              </p:cNvGrpSpPr>
              <p:nvPr/>
            </p:nvGrpSpPr>
            <p:grpSpPr bwMode="auto">
              <a:xfrm>
                <a:off x="5339333" y="3067431"/>
                <a:ext cx="1509522" cy="930021"/>
                <a:chOff x="5339333" y="3067431"/>
                <a:chExt cx="1509522" cy="930021"/>
              </a:xfrm>
            </p:grpSpPr>
            <p:sp>
              <p:nvSpPr>
                <p:cNvPr id="34" name="Freeform 11"/>
                <p:cNvSpPr>
                  <a:spLocks noEditPoints="1"/>
                </p:cNvSpPr>
                <p:nvPr/>
              </p:nvSpPr>
              <p:spPr bwMode="auto">
                <a:xfrm>
                  <a:off x="5339662" y="3068943"/>
                  <a:ext cx="1508867" cy="918239"/>
                </a:xfrm>
                <a:custGeom>
                  <a:avLst/>
                  <a:gdLst>
                    <a:gd name="T0" fmla="*/ 154 w 2115"/>
                    <a:gd name="T1" fmla="*/ 956 h 1302"/>
                    <a:gd name="T2" fmla="*/ 144 w 2115"/>
                    <a:gd name="T3" fmla="*/ 334 h 1302"/>
                    <a:gd name="T4" fmla="*/ 573 w 2115"/>
                    <a:gd name="T5" fmla="*/ 324 h 1302"/>
                    <a:gd name="T6" fmla="*/ 573 w 2115"/>
                    <a:gd name="T7" fmla="*/ 1059 h 1302"/>
                    <a:gd name="T8" fmla="*/ 44 w 2115"/>
                    <a:gd name="T9" fmla="*/ 220 h 1302"/>
                    <a:gd name="T10" fmla="*/ 573 w 2115"/>
                    <a:gd name="T11" fmla="*/ 180 h 1302"/>
                    <a:gd name="T12" fmla="*/ 22 w 2115"/>
                    <a:gd name="T13" fmla="*/ 176 h 1302"/>
                    <a:gd name="T14" fmla="*/ 0 w 2115"/>
                    <a:gd name="T15" fmla="*/ 1081 h 1302"/>
                    <a:gd name="T16" fmla="*/ 573 w 2115"/>
                    <a:gd name="T17" fmla="*/ 1103 h 1302"/>
                    <a:gd name="T18" fmla="*/ 660 w 2115"/>
                    <a:gd name="T19" fmla="*/ 89 h 1302"/>
                    <a:gd name="T20" fmla="*/ 94 w 2115"/>
                    <a:gd name="T21" fmla="*/ 111 h 1302"/>
                    <a:gd name="T22" fmla="*/ 618 w 2115"/>
                    <a:gd name="T23" fmla="*/ 133 h 1302"/>
                    <a:gd name="T24" fmla="*/ 745 w 2115"/>
                    <a:gd name="T25" fmla="*/ 0 h 1302"/>
                    <a:gd name="T26" fmla="*/ 179 w 2115"/>
                    <a:gd name="T27" fmla="*/ 22 h 1302"/>
                    <a:gd name="T28" fmla="*/ 703 w 2115"/>
                    <a:gd name="T29" fmla="*/ 44 h 1302"/>
                    <a:gd name="T30" fmla="*/ 1882 w 2115"/>
                    <a:gd name="T31" fmla="*/ 948 h 1302"/>
                    <a:gd name="T32" fmla="*/ 1760 w 2115"/>
                    <a:gd name="T33" fmla="*/ 1286 h 1302"/>
                    <a:gd name="T34" fmla="*/ 1452 w 2115"/>
                    <a:gd name="T35" fmla="*/ 1286 h 1302"/>
                    <a:gd name="T36" fmla="*/ 1329 w 2115"/>
                    <a:gd name="T37" fmla="*/ 1168 h 1302"/>
                    <a:gd name="T38" fmla="*/ 1452 w 2115"/>
                    <a:gd name="T39" fmla="*/ 830 h 1302"/>
                    <a:gd name="T40" fmla="*/ 1760 w 2115"/>
                    <a:gd name="T41" fmla="*/ 830 h 1302"/>
                    <a:gd name="T42" fmla="*/ 1882 w 2115"/>
                    <a:gd name="T43" fmla="*/ 948 h 1302"/>
                    <a:gd name="T44" fmla="*/ 1750 w 2115"/>
                    <a:gd name="T45" fmla="*/ 873 h 1302"/>
                    <a:gd name="T46" fmla="*/ 1462 w 2115"/>
                    <a:gd name="T47" fmla="*/ 873 h 1302"/>
                    <a:gd name="T48" fmla="*/ 1373 w 2115"/>
                    <a:gd name="T49" fmla="*/ 1168 h 1302"/>
                    <a:gd name="T50" fmla="*/ 1606 w 2115"/>
                    <a:gd name="T51" fmla="*/ 1258 h 1302"/>
                    <a:gd name="T52" fmla="*/ 1838 w 2115"/>
                    <a:gd name="T53" fmla="*/ 1168 h 1302"/>
                    <a:gd name="T54" fmla="*/ 1728 w 2115"/>
                    <a:gd name="T55" fmla="*/ 325 h 1302"/>
                    <a:gd name="T56" fmla="*/ 1772 w 2115"/>
                    <a:gd name="T57" fmla="*/ 198 h 1302"/>
                    <a:gd name="T58" fmla="*/ 1246 w 2115"/>
                    <a:gd name="T59" fmla="*/ 176 h 1302"/>
                    <a:gd name="T60" fmla="*/ 1209 w 2115"/>
                    <a:gd name="T61" fmla="*/ 220 h 1302"/>
                    <a:gd name="T62" fmla="*/ 1728 w 2115"/>
                    <a:gd name="T63" fmla="*/ 325 h 1302"/>
                    <a:gd name="T64" fmla="*/ 1838 w 2115"/>
                    <a:gd name="T65" fmla="*/ 318 h 1302"/>
                    <a:gd name="T66" fmla="*/ 1866 w 2115"/>
                    <a:gd name="T67" fmla="*/ 111 h 1302"/>
                    <a:gd name="T68" fmla="*/ 1330 w 2115"/>
                    <a:gd name="T69" fmla="*/ 89 h 1302"/>
                    <a:gd name="T70" fmla="*/ 1822 w 2115"/>
                    <a:gd name="T71" fmla="*/ 133 h 1302"/>
                    <a:gd name="T72" fmla="*/ 1907 w 2115"/>
                    <a:gd name="T73" fmla="*/ 321 h 1302"/>
                    <a:gd name="T74" fmla="*/ 1951 w 2115"/>
                    <a:gd name="T75" fmla="*/ 22 h 1302"/>
                    <a:gd name="T76" fmla="*/ 1415 w 2115"/>
                    <a:gd name="T77" fmla="*/ 0 h 1302"/>
                    <a:gd name="T78" fmla="*/ 1907 w 2115"/>
                    <a:gd name="T79" fmla="*/ 44 h 1302"/>
                    <a:gd name="T80" fmla="*/ 1285 w 2115"/>
                    <a:gd name="T81" fmla="*/ 1059 h 1302"/>
                    <a:gd name="T82" fmla="*/ 1209 w 2115"/>
                    <a:gd name="T83" fmla="*/ 1103 h 1302"/>
                    <a:gd name="T84" fmla="*/ 1285 w 2115"/>
                    <a:gd name="T85" fmla="*/ 1059 h 1302"/>
                    <a:gd name="T86" fmla="*/ 1441 w 2115"/>
                    <a:gd name="T87" fmla="*/ 787 h 1302"/>
                    <a:gd name="T88" fmla="*/ 1518 w 2115"/>
                    <a:gd name="T89" fmla="*/ 496 h 1302"/>
                    <a:gd name="T90" fmla="*/ 1629 w 2115"/>
                    <a:gd name="T91" fmla="*/ 334 h 1302"/>
                    <a:gd name="T92" fmla="*/ 1209 w 2115"/>
                    <a:gd name="T93" fmla="*/ 324 h 1302"/>
                    <a:gd name="T94" fmla="*/ 1285 w 2115"/>
                    <a:gd name="T95" fmla="*/ 956 h 1302"/>
                    <a:gd name="T96" fmla="*/ 2057 w 2115"/>
                    <a:gd name="T97" fmla="*/ 403 h 1302"/>
                    <a:gd name="T98" fmla="*/ 1838 w 2115"/>
                    <a:gd name="T99" fmla="*/ 362 h 1302"/>
                    <a:gd name="T100" fmla="*/ 1562 w 2115"/>
                    <a:gd name="T101" fmla="*/ 496 h 1302"/>
                    <a:gd name="T102" fmla="*/ 1606 w 2115"/>
                    <a:gd name="T103" fmla="*/ 770 h 1302"/>
                    <a:gd name="T104" fmla="*/ 1606 w 2115"/>
                    <a:gd name="T105" fmla="*/ 496 h 1302"/>
                    <a:gd name="T106" fmla="*/ 1838 w 2115"/>
                    <a:gd name="T107" fmla="*/ 406 h 1302"/>
                    <a:gd name="T108" fmla="*/ 2071 w 2115"/>
                    <a:gd name="T109" fmla="*/ 496 h 1302"/>
                    <a:gd name="T110" fmla="*/ 1982 w 2115"/>
                    <a:gd name="T111" fmla="*/ 1130 h 1302"/>
                    <a:gd name="T112" fmla="*/ 1926 w 2115"/>
                    <a:gd name="T113" fmla="*/ 1168 h 1302"/>
                    <a:gd name="T114" fmla="*/ 1992 w 2115"/>
                    <a:gd name="T115" fmla="*/ 1173 h 1302"/>
                    <a:gd name="T116" fmla="*/ 2115 w 2115"/>
                    <a:gd name="T117" fmla="*/ 496 h 13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115" h="1302">
                      <a:moveTo>
                        <a:pt x="573" y="956"/>
                      </a:moveTo>
                      <a:cubicBezTo>
                        <a:pt x="154" y="956"/>
                        <a:pt x="154" y="956"/>
                        <a:pt x="154" y="956"/>
                      </a:cubicBezTo>
                      <a:cubicBezTo>
                        <a:pt x="148" y="956"/>
                        <a:pt x="144" y="951"/>
                        <a:pt x="144" y="946"/>
                      </a:cubicBezTo>
                      <a:cubicBezTo>
                        <a:pt x="144" y="334"/>
                        <a:pt x="144" y="334"/>
                        <a:pt x="144" y="334"/>
                      </a:cubicBezTo>
                      <a:cubicBezTo>
                        <a:pt x="144" y="328"/>
                        <a:pt x="148" y="324"/>
                        <a:pt x="154" y="324"/>
                      </a:cubicBezTo>
                      <a:cubicBezTo>
                        <a:pt x="573" y="324"/>
                        <a:pt x="573" y="324"/>
                        <a:pt x="573" y="324"/>
                      </a:cubicBezTo>
                      <a:lnTo>
                        <a:pt x="573" y="956"/>
                      </a:lnTo>
                      <a:close/>
                      <a:moveTo>
                        <a:pt x="573" y="1059"/>
                      </a:moveTo>
                      <a:cubicBezTo>
                        <a:pt x="44" y="1059"/>
                        <a:pt x="44" y="1059"/>
                        <a:pt x="44" y="1059"/>
                      </a:cubicBezTo>
                      <a:cubicBezTo>
                        <a:pt x="44" y="220"/>
                        <a:pt x="44" y="220"/>
                        <a:pt x="44" y="220"/>
                      </a:cubicBezTo>
                      <a:cubicBezTo>
                        <a:pt x="573" y="220"/>
                        <a:pt x="573" y="220"/>
                        <a:pt x="573" y="220"/>
                      </a:cubicBezTo>
                      <a:cubicBezTo>
                        <a:pt x="573" y="180"/>
                        <a:pt x="573" y="180"/>
                        <a:pt x="573" y="180"/>
                      </a:cubicBezTo>
                      <a:cubicBezTo>
                        <a:pt x="576" y="176"/>
                        <a:pt x="576" y="176"/>
                        <a:pt x="576" y="176"/>
                      </a:cubicBezTo>
                      <a:cubicBezTo>
                        <a:pt x="22" y="176"/>
                        <a:pt x="22" y="176"/>
                        <a:pt x="22" y="176"/>
                      </a:cubicBezTo>
                      <a:cubicBezTo>
                        <a:pt x="10" y="176"/>
                        <a:pt x="0" y="186"/>
                        <a:pt x="0" y="198"/>
                      </a:cubicBezTo>
                      <a:cubicBezTo>
                        <a:pt x="0" y="1081"/>
                        <a:pt x="0" y="1081"/>
                        <a:pt x="0" y="1081"/>
                      </a:cubicBezTo>
                      <a:cubicBezTo>
                        <a:pt x="0" y="1093"/>
                        <a:pt x="10" y="1103"/>
                        <a:pt x="22" y="1103"/>
                      </a:cubicBezTo>
                      <a:cubicBezTo>
                        <a:pt x="573" y="1103"/>
                        <a:pt x="573" y="1103"/>
                        <a:pt x="573" y="1103"/>
                      </a:cubicBezTo>
                      <a:lnTo>
                        <a:pt x="573" y="1059"/>
                      </a:lnTo>
                      <a:close/>
                      <a:moveTo>
                        <a:pt x="660" y="89"/>
                      </a:moveTo>
                      <a:cubicBezTo>
                        <a:pt x="116" y="89"/>
                        <a:pt x="116" y="89"/>
                        <a:pt x="116" y="89"/>
                      </a:cubicBezTo>
                      <a:cubicBezTo>
                        <a:pt x="104" y="89"/>
                        <a:pt x="94" y="99"/>
                        <a:pt x="94" y="111"/>
                      </a:cubicBezTo>
                      <a:cubicBezTo>
                        <a:pt x="94" y="123"/>
                        <a:pt x="104" y="133"/>
                        <a:pt x="116" y="133"/>
                      </a:cubicBezTo>
                      <a:cubicBezTo>
                        <a:pt x="618" y="133"/>
                        <a:pt x="618" y="133"/>
                        <a:pt x="618" y="133"/>
                      </a:cubicBezTo>
                      <a:lnTo>
                        <a:pt x="660" y="89"/>
                      </a:lnTo>
                      <a:close/>
                      <a:moveTo>
                        <a:pt x="745" y="0"/>
                      </a:moveTo>
                      <a:cubicBezTo>
                        <a:pt x="201" y="0"/>
                        <a:pt x="201" y="0"/>
                        <a:pt x="201" y="0"/>
                      </a:cubicBezTo>
                      <a:cubicBezTo>
                        <a:pt x="189" y="0"/>
                        <a:pt x="179" y="10"/>
                        <a:pt x="179" y="22"/>
                      </a:cubicBezTo>
                      <a:cubicBezTo>
                        <a:pt x="179" y="35"/>
                        <a:pt x="189" y="44"/>
                        <a:pt x="201" y="44"/>
                      </a:cubicBezTo>
                      <a:cubicBezTo>
                        <a:pt x="703" y="44"/>
                        <a:pt x="703" y="44"/>
                        <a:pt x="703" y="44"/>
                      </a:cubicBezTo>
                      <a:lnTo>
                        <a:pt x="745" y="0"/>
                      </a:lnTo>
                      <a:close/>
                      <a:moveTo>
                        <a:pt x="1882" y="948"/>
                      </a:moveTo>
                      <a:cubicBezTo>
                        <a:pt x="1882" y="1168"/>
                        <a:pt x="1882" y="1168"/>
                        <a:pt x="1882" y="1168"/>
                      </a:cubicBezTo>
                      <a:cubicBezTo>
                        <a:pt x="1882" y="1208"/>
                        <a:pt x="1861" y="1261"/>
                        <a:pt x="1760" y="1286"/>
                      </a:cubicBezTo>
                      <a:cubicBezTo>
                        <a:pt x="1718" y="1296"/>
                        <a:pt x="1663" y="1302"/>
                        <a:pt x="1606" y="1302"/>
                      </a:cubicBezTo>
                      <a:cubicBezTo>
                        <a:pt x="1549" y="1302"/>
                        <a:pt x="1494" y="1296"/>
                        <a:pt x="1452" y="1286"/>
                      </a:cubicBezTo>
                      <a:cubicBezTo>
                        <a:pt x="1439" y="1283"/>
                        <a:pt x="1412" y="1276"/>
                        <a:pt x="1387" y="1262"/>
                      </a:cubicBezTo>
                      <a:cubicBezTo>
                        <a:pt x="1350" y="1240"/>
                        <a:pt x="1329" y="1207"/>
                        <a:pt x="1329" y="1168"/>
                      </a:cubicBezTo>
                      <a:cubicBezTo>
                        <a:pt x="1329" y="948"/>
                        <a:pt x="1329" y="948"/>
                        <a:pt x="1329" y="948"/>
                      </a:cubicBezTo>
                      <a:cubicBezTo>
                        <a:pt x="1329" y="908"/>
                        <a:pt x="1350" y="855"/>
                        <a:pt x="1452" y="830"/>
                      </a:cubicBezTo>
                      <a:cubicBezTo>
                        <a:pt x="1494" y="820"/>
                        <a:pt x="1549" y="814"/>
                        <a:pt x="1606" y="814"/>
                      </a:cubicBezTo>
                      <a:cubicBezTo>
                        <a:pt x="1663" y="814"/>
                        <a:pt x="1718" y="820"/>
                        <a:pt x="1760" y="830"/>
                      </a:cubicBezTo>
                      <a:cubicBezTo>
                        <a:pt x="1773" y="833"/>
                        <a:pt x="1799" y="840"/>
                        <a:pt x="1824" y="854"/>
                      </a:cubicBezTo>
                      <a:cubicBezTo>
                        <a:pt x="1862" y="876"/>
                        <a:pt x="1882" y="910"/>
                        <a:pt x="1882" y="948"/>
                      </a:cubicBezTo>
                      <a:close/>
                      <a:moveTo>
                        <a:pt x="1838" y="948"/>
                      </a:moveTo>
                      <a:cubicBezTo>
                        <a:pt x="1838" y="894"/>
                        <a:pt x="1771" y="878"/>
                        <a:pt x="1750" y="873"/>
                      </a:cubicBezTo>
                      <a:cubicBezTo>
                        <a:pt x="1711" y="863"/>
                        <a:pt x="1660" y="858"/>
                        <a:pt x="1606" y="858"/>
                      </a:cubicBezTo>
                      <a:cubicBezTo>
                        <a:pt x="1552" y="858"/>
                        <a:pt x="1501" y="863"/>
                        <a:pt x="1462" y="873"/>
                      </a:cubicBezTo>
                      <a:cubicBezTo>
                        <a:pt x="1440" y="878"/>
                        <a:pt x="1373" y="894"/>
                        <a:pt x="1373" y="948"/>
                      </a:cubicBezTo>
                      <a:cubicBezTo>
                        <a:pt x="1373" y="1168"/>
                        <a:pt x="1373" y="1168"/>
                        <a:pt x="1373" y="1168"/>
                      </a:cubicBezTo>
                      <a:cubicBezTo>
                        <a:pt x="1373" y="1222"/>
                        <a:pt x="1440" y="1238"/>
                        <a:pt x="1462" y="1243"/>
                      </a:cubicBezTo>
                      <a:cubicBezTo>
                        <a:pt x="1501" y="1253"/>
                        <a:pt x="1552" y="1258"/>
                        <a:pt x="1606" y="1258"/>
                      </a:cubicBezTo>
                      <a:cubicBezTo>
                        <a:pt x="1660" y="1258"/>
                        <a:pt x="1711" y="1253"/>
                        <a:pt x="1750" y="1243"/>
                      </a:cubicBezTo>
                      <a:cubicBezTo>
                        <a:pt x="1771" y="1238"/>
                        <a:pt x="1838" y="1222"/>
                        <a:pt x="1838" y="1168"/>
                      </a:cubicBezTo>
                      <a:lnTo>
                        <a:pt x="1838" y="948"/>
                      </a:lnTo>
                      <a:close/>
                      <a:moveTo>
                        <a:pt x="1728" y="325"/>
                      </a:moveTo>
                      <a:cubicBezTo>
                        <a:pt x="1743" y="324"/>
                        <a:pt x="1757" y="322"/>
                        <a:pt x="1772" y="321"/>
                      </a:cubicBezTo>
                      <a:cubicBezTo>
                        <a:pt x="1772" y="198"/>
                        <a:pt x="1772" y="198"/>
                        <a:pt x="1772" y="198"/>
                      </a:cubicBezTo>
                      <a:cubicBezTo>
                        <a:pt x="1772" y="186"/>
                        <a:pt x="1763" y="176"/>
                        <a:pt x="1750" y="176"/>
                      </a:cubicBezTo>
                      <a:cubicBezTo>
                        <a:pt x="1246" y="176"/>
                        <a:pt x="1246" y="176"/>
                        <a:pt x="1246" y="176"/>
                      </a:cubicBezTo>
                      <a:cubicBezTo>
                        <a:pt x="1209" y="215"/>
                        <a:pt x="1209" y="215"/>
                        <a:pt x="1209" y="215"/>
                      </a:cubicBezTo>
                      <a:cubicBezTo>
                        <a:pt x="1209" y="220"/>
                        <a:pt x="1209" y="220"/>
                        <a:pt x="1209" y="220"/>
                      </a:cubicBezTo>
                      <a:cubicBezTo>
                        <a:pt x="1728" y="220"/>
                        <a:pt x="1728" y="220"/>
                        <a:pt x="1728" y="220"/>
                      </a:cubicBezTo>
                      <a:lnTo>
                        <a:pt x="1728" y="325"/>
                      </a:lnTo>
                      <a:close/>
                      <a:moveTo>
                        <a:pt x="1822" y="319"/>
                      </a:moveTo>
                      <a:cubicBezTo>
                        <a:pt x="1827" y="318"/>
                        <a:pt x="1833" y="318"/>
                        <a:pt x="1838" y="318"/>
                      </a:cubicBezTo>
                      <a:cubicBezTo>
                        <a:pt x="1848" y="318"/>
                        <a:pt x="1857" y="319"/>
                        <a:pt x="1866" y="319"/>
                      </a:cubicBezTo>
                      <a:cubicBezTo>
                        <a:pt x="1866" y="111"/>
                        <a:pt x="1866" y="111"/>
                        <a:pt x="1866" y="111"/>
                      </a:cubicBezTo>
                      <a:cubicBezTo>
                        <a:pt x="1866" y="99"/>
                        <a:pt x="1856" y="89"/>
                        <a:pt x="1844" y="89"/>
                      </a:cubicBezTo>
                      <a:cubicBezTo>
                        <a:pt x="1330" y="89"/>
                        <a:pt x="1330" y="89"/>
                        <a:pt x="1330" y="89"/>
                      </a:cubicBezTo>
                      <a:cubicBezTo>
                        <a:pt x="1288" y="133"/>
                        <a:pt x="1288" y="133"/>
                        <a:pt x="1288" y="133"/>
                      </a:cubicBezTo>
                      <a:cubicBezTo>
                        <a:pt x="1822" y="133"/>
                        <a:pt x="1822" y="133"/>
                        <a:pt x="1822" y="133"/>
                      </a:cubicBezTo>
                      <a:lnTo>
                        <a:pt x="1822" y="319"/>
                      </a:lnTo>
                      <a:close/>
                      <a:moveTo>
                        <a:pt x="1907" y="321"/>
                      </a:moveTo>
                      <a:cubicBezTo>
                        <a:pt x="1922" y="322"/>
                        <a:pt x="1937" y="324"/>
                        <a:pt x="1951" y="326"/>
                      </a:cubicBezTo>
                      <a:cubicBezTo>
                        <a:pt x="1951" y="22"/>
                        <a:pt x="1951" y="22"/>
                        <a:pt x="1951" y="22"/>
                      </a:cubicBezTo>
                      <a:cubicBezTo>
                        <a:pt x="1951" y="10"/>
                        <a:pt x="1941" y="0"/>
                        <a:pt x="1929" y="0"/>
                      </a:cubicBezTo>
                      <a:cubicBezTo>
                        <a:pt x="1415" y="0"/>
                        <a:pt x="1415" y="0"/>
                        <a:pt x="1415" y="0"/>
                      </a:cubicBezTo>
                      <a:cubicBezTo>
                        <a:pt x="1373" y="44"/>
                        <a:pt x="1373" y="44"/>
                        <a:pt x="1373" y="44"/>
                      </a:cubicBezTo>
                      <a:cubicBezTo>
                        <a:pt x="1907" y="44"/>
                        <a:pt x="1907" y="44"/>
                        <a:pt x="1907" y="44"/>
                      </a:cubicBezTo>
                      <a:lnTo>
                        <a:pt x="1907" y="321"/>
                      </a:lnTo>
                      <a:close/>
                      <a:moveTo>
                        <a:pt x="1285" y="1059"/>
                      </a:moveTo>
                      <a:cubicBezTo>
                        <a:pt x="1209" y="1059"/>
                        <a:pt x="1209" y="1059"/>
                        <a:pt x="1209" y="1059"/>
                      </a:cubicBezTo>
                      <a:cubicBezTo>
                        <a:pt x="1209" y="1103"/>
                        <a:pt x="1209" y="1103"/>
                        <a:pt x="1209" y="1103"/>
                      </a:cubicBezTo>
                      <a:cubicBezTo>
                        <a:pt x="1285" y="1103"/>
                        <a:pt x="1285" y="1103"/>
                        <a:pt x="1285" y="1103"/>
                      </a:cubicBezTo>
                      <a:lnTo>
                        <a:pt x="1285" y="1059"/>
                      </a:lnTo>
                      <a:close/>
                      <a:moveTo>
                        <a:pt x="1285" y="948"/>
                      </a:moveTo>
                      <a:cubicBezTo>
                        <a:pt x="1285" y="902"/>
                        <a:pt x="1305" y="820"/>
                        <a:pt x="1441" y="787"/>
                      </a:cubicBezTo>
                      <a:cubicBezTo>
                        <a:pt x="1464" y="782"/>
                        <a:pt x="1490" y="777"/>
                        <a:pt x="1518" y="775"/>
                      </a:cubicBezTo>
                      <a:cubicBezTo>
                        <a:pt x="1518" y="496"/>
                        <a:pt x="1518" y="496"/>
                        <a:pt x="1518" y="496"/>
                      </a:cubicBezTo>
                      <a:cubicBezTo>
                        <a:pt x="1518" y="456"/>
                        <a:pt x="1533" y="388"/>
                        <a:pt x="1629" y="350"/>
                      </a:cubicBezTo>
                      <a:cubicBezTo>
                        <a:pt x="1629" y="334"/>
                        <a:pt x="1629" y="334"/>
                        <a:pt x="1629" y="334"/>
                      </a:cubicBezTo>
                      <a:cubicBezTo>
                        <a:pt x="1629" y="328"/>
                        <a:pt x="1625" y="324"/>
                        <a:pt x="1619" y="324"/>
                      </a:cubicBezTo>
                      <a:cubicBezTo>
                        <a:pt x="1209" y="324"/>
                        <a:pt x="1209" y="324"/>
                        <a:pt x="1209" y="324"/>
                      </a:cubicBezTo>
                      <a:cubicBezTo>
                        <a:pt x="1209" y="956"/>
                        <a:pt x="1209" y="956"/>
                        <a:pt x="1209" y="956"/>
                      </a:cubicBezTo>
                      <a:cubicBezTo>
                        <a:pt x="1285" y="956"/>
                        <a:pt x="1285" y="956"/>
                        <a:pt x="1285" y="956"/>
                      </a:cubicBezTo>
                      <a:lnTo>
                        <a:pt x="1285" y="948"/>
                      </a:lnTo>
                      <a:close/>
                      <a:moveTo>
                        <a:pt x="2057" y="403"/>
                      </a:moveTo>
                      <a:cubicBezTo>
                        <a:pt x="2032" y="388"/>
                        <a:pt x="2005" y="381"/>
                        <a:pt x="1992" y="378"/>
                      </a:cubicBezTo>
                      <a:cubicBezTo>
                        <a:pt x="1950" y="368"/>
                        <a:pt x="1896" y="362"/>
                        <a:pt x="1838" y="362"/>
                      </a:cubicBezTo>
                      <a:cubicBezTo>
                        <a:pt x="1781" y="362"/>
                        <a:pt x="1726" y="368"/>
                        <a:pt x="1684" y="378"/>
                      </a:cubicBezTo>
                      <a:cubicBezTo>
                        <a:pt x="1583" y="403"/>
                        <a:pt x="1562" y="456"/>
                        <a:pt x="1562" y="496"/>
                      </a:cubicBezTo>
                      <a:cubicBezTo>
                        <a:pt x="1562" y="771"/>
                        <a:pt x="1562" y="771"/>
                        <a:pt x="1562" y="771"/>
                      </a:cubicBezTo>
                      <a:cubicBezTo>
                        <a:pt x="1576" y="770"/>
                        <a:pt x="1591" y="770"/>
                        <a:pt x="1606" y="770"/>
                      </a:cubicBezTo>
                      <a:cubicBezTo>
                        <a:pt x="1606" y="770"/>
                        <a:pt x="1606" y="770"/>
                        <a:pt x="1606" y="770"/>
                      </a:cubicBezTo>
                      <a:cubicBezTo>
                        <a:pt x="1606" y="496"/>
                        <a:pt x="1606" y="496"/>
                        <a:pt x="1606" y="496"/>
                      </a:cubicBezTo>
                      <a:cubicBezTo>
                        <a:pt x="1606" y="443"/>
                        <a:pt x="1673" y="426"/>
                        <a:pt x="1695" y="421"/>
                      </a:cubicBezTo>
                      <a:cubicBezTo>
                        <a:pt x="1734" y="412"/>
                        <a:pt x="1785" y="406"/>
                        <a:pt x="1838" y="406"/>
                      </a:cubicBezTo>
                      <a:cubicBezTo>
                        <a:pt x="1892" y="406"/>
                        <a:pt x="1943" y="412"/>
                        <a:pt x="1982" y="421"/>
                      </a:cubicBezTo>
                      <a:cubicBezTo>
                        <a:pt x="2004" y="426"/>
                        <a:pt x="2071" y="443"/>
                        <a:pt x="2071" y="496"/>
                      </a:cubicBezTo>
                      <a:cubicBezTo>
                        <a:pt x="2071" y="1055"/>
                        <a:pt x="2071" y="1055"/>
                        <a:pt x="2071" y="1055"/>
                      </a:cubicBezTo>
                      <a:cubicBezTo>
                        <a:pt x="2071" y="1108"/>
                        <a:pt x="2004" y="1125"/>
                        <a:pt x="1982" y="1130"/>
                      </a:cubicBezTo>
                      <a:cubicBezTo>
                        <a:pt x="1965" y="1134"/>
                        <a:pt x="1947" y="1137"/>
                        <a:pt x="1926" y="1140"/>
                      </a:cubicBezTo>
                      <a:cubicBezTo>
                        <a:pt x="1926" y="1168"/>
                        <a:pt x="1926" y="1168"/>
                        <a:pt x="1926" y="1168"/>
                      </a:cubicBezTo>
                      <a:cubicBezTo>
                        <a:pt x="1926" y="1173"/>
                        <a:pt x="1926" y="1178"/>
                        <a:pt x="1925" y="1184"/>
                      </a:cubicBezTo>
                      <a:cubicBezTo>
                        <a:pt x="1950" y="1181"/>
                        <a:pt x="1973" y="1178"/>
                        <a:pt x="1992" y="1173"/>
                      </a:cubicBezTo>
                      <a:cubicBezTo>
                        <a:pt x="2094" y="1148"/>
                        <a:pt x="2115" y="1095"/>
                        <a:pt x="2115" y="1055"/>
                      </a:cubicBezTo>
                      <a:cubicBezTo>
                        <a:pt x="2115" y="496"/>
                        <a:pt x="2115" y="496"/>
                        <a:pt x="2115" y="496"/>
                      </a:cubicBezTo>
                      <a:cubicBezTo>
                        <a:pt x="2115" y="458"/>
                        <a:pt x="2094" y="425"/>
                        <a:pt x="2057" y="403"/>
                      </a:cubicBezTo>
                      <a:close/>
                    </a:path>
                  </a:pathLst>
                </a:custGeom>
                <a:solidFill>
                  <a:schemeClr val="accent6">
                    <a:lumMod val="60000"/>
                    <a:lumOff val="40000"/>
                  </a:schemeClr>
                </a:solidFill>
                <a:ln>
                  <a:noFill/>
                </a:ln>
              </p:spPr>
              <p:txBody>
                <a:bodyPr lIns="41148" tIns="20574" rIns="41148" bIns="20574"/>
                <a:lstStyle/>
                <a:p>
                  <a:pPr>
                    <a:defRPr/>
                  </a:pPr>
                  <a:endParaRPr lang="en-GB" dirty="0">
                    <a:latin typeface="Gill Sans MT" panose="020B0502020104020203" pitchFamily="34" charset="0"/>
                  </a:endParaRPr>
                </a:p>
              </p:txBody>
            </p:sp>
            <p:sp>
              <p:nvSpPr>
                <p:cNvPr id="18504" name="Freeform 12"/>
                <p:cNvSpPr>
                  <a:spLocks noEditPoints="1"/>
                </p:cNvSpPr>
                <p:nvPr/>
              </p:nvSpPr>
              <p:spPr bwMode="auto">
                <a:xfrm>
                  <a:off x="5779769" y="3071622"/>
                  <a:ext cx="1006602" cy="862965"/>
                </a:xfrm>
                <a:custGeom>
                  <a:avLst/>
                  <a:gdLst>
                    <a:gd name="T0" fmla="*/ 0 w 1410"/>
                    <a:gd name="T1" fmla="*/ 2147483646 h 1208"/>
                    <a:gd name="T2" fmla="*/ 2147483646 w 1410"/>
                    <a:gd name="T3" fmla="*/ 0 h 1208"/>
                    <a:gd name="T4" fmla="*/ 2147483646 w 1410"/>
                    <a:gd name="T5" fmla="*/ 2147483646 h 1208"/>
                    <a:gd name="T6" fmla="*/ 2147483646 w 1410"/>
                    <a:gd name="T7" fmla="*/ 2147483646 h 1208"/>
                    <a:gd name="T8" fmla="*/ 2147483646 w 1410"/>
                    <a:gd name="T9" fmla="*/ 2147483646 h 1208"/>
                    <a:gd name="T10" fmla="*/ 2147483646 w 1410"/>
                    <a:gd name="T11" fmla="*/ 2147483646 h 1208"/>
                    <a:gd name="T12" fmla="*/ 2147483646 w 1410"/>
                    <a:gd name="T13" fmla="*/ 2147483646 h 1208"/>
                    <a:gd name="T14" fmla="*/ 2147483646 w 1410"/>
                    <a:gd name="T15" fmla="*/ 2147483646 h 1208"/>
                    <a:gd name="T16" fmla="*/ 2147483646 w 1410"/>
                    <a:gd name="T17" fmla="*/ 2147483646 h 1208"/>
                    <a:gd name="T18" fmla="*/ 2147483646 w 1410"/>
                    <a:gd name="T19" fmla="*/ 2147483646 h 1208"/>
                    <a:gd name="T20" fmla="*/ 2147483646 w 1410"/>
                    <a:gd name="T21" fmla="*/ 2147483646 h 1208"/>
                    <a:gd name="T22" fmla="*/ 2147483646 w 1410"/>
                    <a:gd name="T23" fmla="*/ 2147483646 h 1208"/>
                    <a:gd name="T24" fmla="*/ 2147483646 w 1410"/>
                    <a:gd name="T25" fmla="*/ 2147483646 h 1208"/>
                    <a:gd name="T26" fmla="*/ 2147483646 w 1410"/>
                    <a:gd name="T27" fmla="*/ 2147483646 h 1208"/>
                    <a:gd name="T28" fmla="*/ 2147483646 w 1410"/>
                    <a:gd name="T29" fmla="*/ 2147483646 h 1208"/>
                    <a:gd name="T30" fmla="*/ 2147483646 w 1410"/>
                    <a:gd name="T31" fmla="*/ 2147483646 h 1208"/>
                    <a:gd name="T32" fmla="*/ 2147483646 w 1410"/>
                    <a:gd name="T33" fmla="*/ 2147483646 h 1208"/>
                    <a:gd name="T34" fmla="*/ 2147483646 w 1410"/>
                    <a:gd name="T35" fmla="*/ 2147483646 h 1208"/>
                    <a:gd name="T36" fmla="*/ 2147483646 w 1410"/>
                    <a:gd name="T37" fmla="*/ 2147483646 h 1208"/>
                    <a:gd name="T38" fmla="*/ 2147483646 w 1410"/>
                    <a:gd name="T39" fmla="*/ 2147483646 h 1208"/>
                    <a:gd name="T40" fmla="*/ 2147483646 w 1410"/>
                    <a:gd name="T41" fmla="*/ 2147483646 h 1208"/>
                    <a:gd name="T42" fmla="*/ 2147483646 w 1410"/>
                    <a:gd name="T43" fmla="*/ 2147483646 h 1208"/>
                    <a:gd name="T44" fmla="*/ 2147483646 w 1410"/>
                    <a:gd name="T45" fmla="*/ 2147483646 h 1208"/>
                    <a:gd name="T46" fmla="*/ 2147483646 w 1410"/>
                    <a:gd name="T47" fmla="*/ 2147483646 h 1208"/>
                    <a:gd name="T48" fmla="*/ 2147483646 w 1410"/>
                    <a:gd name="T49" fmla="*/ 2147483646 h 1208"/>
                    <a:gd name="T50" fmla="*/ 2147483646 w 1410"/>
                    <a:gd name="T51" fmla="*/ 2147483646 h 1208"/>
                    <a:gd name="T52" fmla="*/ 2147483646 w 1410"/>
                    <a:gd name="T53" fmla="*/ 2147483646 h 1208"/>
                    <a:gd name="T54" fmla="*/ 2147483646 w 1410"/>
                    <a:gd name="T55" fmla="*/ 2147483646 h 1208"/>
                    <a:gd name="T56" fmla="*/ 2147483646 w 1410"/>
                    <a:gd name="T57" fmla="*/ 2147483646 h 1208"/>
                    <a:gd name="T58" fmla="*/ 2147483646 w 1410"/>
                    <a:gd name="T59" fmla="*/ 2147483646 h 1208"/>
                    <a:gd name="T60" fmla="*/ 2147483646 w 1410"/>
                    <a:gd name="T61" fmla="*/ 2147483646 h 1208"/>
                    <a:gd name="T62" fmla="*/ 2147483646 w 1410"/>
                    <a:gd name="T63" fmla="*/ 2147483646 h 1208"/>
                    <a:gd name="T64" fmla="*/ 2147483646 w 1410"/>
                    <a:gd name="T65" fmla="*/ 2147483646 h 1208"/>
                    <a:gd name="T66" fmla="*/ 2147483646 w 1410"/>
                    <a:gd name="T67" fmla="*/ 2147483646 h 1208"/>
                    <a:gd name="T68" fmla="*/ 2147483646 w 1410"/>
                    <a:gd name="T69" fmla="*/ 2147483646 h 1208"/>
                    <a:gd name="T70" fmla="*/ 2147483646 w 1410"/>
                    <a:gd name="T71" fmla="*/ 2147483646 h 1208"/>
                    <a:gd name="T72" fmla="*/ 2147483646 w 1410"/>
                    <a:gd name="T73" fmla="*/ 2147483646 h 1208"/>
                    <a:gd name="T74" fmla="*/ 2147483646 w 1410"/>
                    <a:gd name="T75" fmla="*/ 2147483646 h 1208"/>
                    <a:gd name="T76" fmla="*/ 2147483646 w 1410"/>
                    <a:gd name="T77" fmla="*/ 2147483646 h 1208"/>
                    <a:gd name="T78" fmla="*/ 2147483646 w 1410"/>
                    <a:gd name="T79" fmla="*/ 2147483646 h 1208"/>
                    <a:gd name="T80" fmla="*/ 2147483646 w 1410"/>
                    <a:gd name="T81" fmla="*/ 2147483646 h 1208"/>
                    <a:gd name="T82" fmla="*/ 2147483646 w 1410"/>
                    <a:gd name="T83" fmla="*/ 2147483646 h 1208"/>
                    <a:gd name="T84" fmla="*/ 2147483646 w 1410"/>
                    <a:gd name="T85" fmla="*/ 2147483646 h 1208"/>
                    <a:gd name="T86" fmla="*/ 2147483646 w 1410"/>
                    <a:gd name="T87" fmla="*/ 2147483646 h 1208"/>
                    <a:gd name="T88" fmla="*/ 2147483646 w 1410"/>
                    <a:gd name="T89" fmla="*/ 2147483646 h 1208"/>
                    <a:gd name="T90" fmla="*/ 2147483646 w 1410"/>
                    <a:gd name="T91" fmla="*/ 2147483646 h 1208"/>
                    <a:gd name="T92" fmla="*/ 2147483646 w 1410"/>
                    <a:gd name="T93" fmla="*/ 2147483646 h 1208"/>
                    <a:gd name="T94" fmla="*/ 2147483646 w 1410"/>
                    <a:gd name="T95" fmla="*/ 2147483646 h 1208"/>
                    <a:gd name="T96" fmla="*/ 2147483646 w 1410"/>
                    <a:gd name="T97" fmla="*/ 2147483646 h 1208"/>
                    <a:gd name="T98" fmla="*/ 2147483646 w 1410"/>
                    <a:gd name="T99" fmla="*/ 2147483646 h 1208"/>
                    <a:gd name="T100" fmla="*/ 2147483646 w 1410"/>
                    <a:gd name="T101" fmla="*/ 2147483646 h 1208"/>
                    <a:gd name="T102" fmla="*/ 2147483646 w 1410"/>
                    <a:gd name="T103" fmla="*/ 2147483646 h 1208"/>
                    <a:gd name="T104" fmla="*/ 2147483646 w 1410"/>
                    <a:gd name="T105" fmla="*/ 2147483646 h 1208"/>
                    <a:gd name="T106" fmla="*/ 2147483646 w 1410"/>
                    <a:gd name="T107" fmla="*/ 2147483646 h 1208"/>
                    <a:gd name="T108" fmla="*/ 2147483646 w 1410"/>
                    <a:gd name="T109" fmla="*/ 2147483646 h 1208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0" t="0" r="r" b="b"/>
                  <a:pathLst>
                    <a:path w="1410" h="1208">
                      <a:moveTo>
                        <a:pt x="548" y="1099"/>
                      </a:moveTo>
                      <a:cubicBezTo>
                        <a:pt x="0" y="1099"/>
                        <a:pt x="0" y="1099"/>
                        <a:pt x="0" y="1099"/>
                      </a:cubicBezTo>
                      <a:cubicBezTo>
                        <a:pt x="0" y="191"/>
                        <a:pt x="0" y="191"/>
                        <a:pt x="0" y="191"/>
                      </a:cubicBezTo>
                      <a:cubicBezTo>
                        <a:pt x="184" y="0"/>
                        <a:pt x="184" y="0"/>
                        <a:pt x="184" y="0"/>
                      </a:cubicBezTo>
                      <a:cubicBezTo>
                        <a:pt x="732" y="0"/>
                        <a:pt x="732" y="0"/>
                        <a:pt x="732" y="0"/>
                      </a:cubicBezTo>
                      <a:cubicBezTo>
                        <a:pt x="548" y="191"/>
                        <a:pt x="548" y="191"/>
                        <a:pt x="548" y="191"/>
                      </a:cubicBezTo>
                      <a:lnTo>
                        <a:pt x="548" y="1099"/>
                      </a:lnTo>
                      <a:close/>
                      <a:moveTo>
                        <a:pt x="1410" y="662"/>
                      </a:moveTo>
                      <a:cubicBezTo>
                        <a:pt x="1398" y="668"/>
                        <a:pt x="1383" y="673"/>
                        <a:pt x="1365" y="678"/>
                      </a:cubicBezTo>
                      <a:cubicBezTo>
                        <a:pt x="1326" y="687"/>
                        <a:pt x="1275" y="692"/>
                        <a:pt x="1221" y="692"/>
                      </a:cubicBezTo>
                      <a:cubicBezTo>
                        <a:pt x="1168" y="692"/>
                        <a:pt x="1117" y="687"/>
                        <a:pt x="1078" y="678"/>
                      </a:cubicBezTo>
                      <a:cubicBezTo>
                        <a:pt x="1060" y="673"/>
                        <a:pt x="1045" y="668"/>
                        <a:pt x="1033" y="662"/>
                      </a:cubicBezTo>
                      <a:cubicBezTo>
                        <a:pt x="1033" y="711"/>
                        <a:pt x="1033" y="711"/>
                        <a:pt x="1033" y="711"/>
                      </a:cubicBezTo>
                      <a:cubicBezTo>
                        <a:pt x="1033" y="711"/>
                        <a:pt x="1033" y="711"/>
                        <a:pt x="1033" y="711"/>
                      </a:cubicBezTo>
                      <a:cubicBezTo>
                        <a:pt x="1033" y="712"/>
                        <a:pt x="1033" y="713"/>
                        <a:pt x="1033" y="714"/>
                      </a:cubicBezTo>
                      <a:cubicBezTo>
                        <a:pt x="1033" y="714"/>
                        <a:pt x="1033" y="714"/>
                        <a:pt x="1033" y="714"/>
                      </a:cubicBezTo>
                      <a:cubicBezTo>
                        <a:pt x="1033" y="740"/>
                        <a:pt x="1117" y="760"/>
                        <a:pt x="1221" y="760"/>
                      </a:cubicBezTo>
                      <a:cubicBezTo>
                        <a:pt x="1325" y="760"/>
                        <a:pt x="1410" y="740"/>
                        <a:pt x="1410" y="714"/>
                      </a:cubicBezTo>
                      <a:cubicBezTo>
                        <a:pt x="1410" y="714"/>
                        <a:pt x="1410" y="714"/>
                        <a:pt x="1410" y="714"/>
                      </a:cubicBezTo>
                      <a:cubicBezTo>
                        <a:pt x="1410" y="713"/>
                        <a:pt x="1410" y="712"/>
                        <a:pt x="1409" y="711"/>
                      </a:cubicBezTo>
                      <a:cubicBezTo>
                        <a:pt x="1410" y="711"/>
                        <a:pt x="1410" y="711"/>
                        <a:pt x="1410" y="711"/>
                      </a:cubicBezTo>
                      <a:lnTo>
                        <a:pt x="1410" y="662"/>
                      </a:lnTo>
                      <a:close/>
                      <a:moveTo>
                        <a:pt x="1033" y="488"/>
                      </a:moveTo>
                      <a:cubicBezTo>
                        <a:pt x="1033" y="489"/>
                        <a:pt x="1033" y="490"/>
                        <a:pt x="1033" y="490"/>
                      </a:cubicBezTo>
                      <a:cubicBezTo>
                        <a:pt x="1033" y="490"/>
                        <a:pt x="1033" y="490"/>
                        <a:pt x="1033" y="490"/>
                      </a:cubicBezTo>
                      <a:cubicBezTo>
                        <a:pt x="1033" y="516"/>
                        <a:pt x="1117" y="536"/>
                        <a:pt x="1221" y="536"/>
                      </a:cubicBezTo>
                      <a:cubicBezTo>
                        <a:pt x="1325" y="536"/>
                        <a:pt x="1410" y="516"/>
                        <a:pt x="1410" y="490"/>
                      </a:cubicBezTo>
                      <a:cubicBezTo>
                        <a:pt x="1410" y="490"/>
                        <a:pt x="1410" y="490"/>
                        <a:pt x="1410" y="490"/>
                      </a:cubicBezTo>
                      <a:cubicBezTo>
                        <a:pt x="1410" y="490"/>
                        <a:pt x="1410" y="489"/>
                        <a:pt x="1410" y="488"/>
                      </a:cubicBezTo>
                      <a:cubicBezTo>
                        <a:pt x="1410" y="488"/>
                        <a:pt x="1410" y="488"/>
                        <a:pt x="1409" y="487"/>
                      </a:cubicBezTo>
                      <a:cubicBezTo>
                        <a:pt x="1403" y="463"/>
                        <a:pt x="1321" y="444"/>
                        <a:pt x="1221" y="444"/>
                      </a:cubicBezTo>
                      <a:cubicBezTo>
                        <a:pt x="1121" y="444"/>
                        <a:pt x="1039" y="463"/>
                        <a:pt x="1033" y="487"/>
                      </a:cubicBezTo>
                      <a:cubicBezTo>
                        <a:pt x="1033" y="488"/>
                        <a:pt x="1033" y="488"/>
                        <a:pt x="1033" y="488"/>
                      </a:cubicBezTo>
                      <a:close/>
                      <a:moveTo>
                        <a:pt x="1221" y="580"/>
                      </a:moveTo>
                      <a:cubicBezTo>
                        <a:pt x="1168" y="580"/>
                        <a:pt x="1117" y="575"/>
                        <a:pt x="1078" y="565"/>
                      </a:cubicBezTo>
                      <a:cubicBezTo>
                        <a:pt x="1060" y="561"/>
                        <a:pt x="1045" y="556"/>
                        <a:pt x="1033" y="550"/>
                      </a:cubicBezTo>
                      <a:cubicBezTo>
                        <a:pt x="1033" y="599"/>
                        <a:pt x="1033" y="599"/>
                        <a:pt x="1033" y="599"/>
                      </a:cubicBezTo>
                      <a:cubicBezTo>
                        <a:pt x="1033" y="599"/>
                        <a:pt x="1033" y="599"/>
                        <a:pt x="1033" y="599"/>
                      </a:cubicBezTo>
                      <a:cubicBezTo>
                        <a:pt x="1033" y="600"/>
                        <a:pt x="1033" y="601"/>
                        <a:pt x="1033" y="602"/>
                      </a:cubicBezTo>
                      <a:cubicBezTo>
                        <a:pt x="1033" y="602"/>
                        <a:pt x="1033" y="602"/>
                        <a:pt x="1033" y="602"/>
                      </a:cubicBezTo>
                      <a:cubicBezTo>
                        <a:pt x="1033" y="628"/>
                        <a:pt x="1117" y="648"/>
                        <a:pt x="1221" y="648"/>
                      </a:cubicBezTo>
                      <a:cubicBezTo>
                        <a:pt x="1325" y="648"/>
                        <a:pt x="1410" y="628"/>
                        <a:pt x="1410" y="602"/>
                      </a:cubicBezTo>
                      <a:cubicBezTo>
                        <a:pt x="1410" y="602"/>
                        <a:pt x="1410" y="602"/>
                        <a:pt x="1410" y="602"/>
                      </a:cubicBezTo>
                      <a:cubicBezTo>
                        <a:pt x="1410" y="601"/>
                        <a:pt x="1410" y="600"/>
                        <a:pt x="1409" y="599"/>
                      </a:cubicBezTo>
                      <a:cubicBezTo>
                        <a:pt x="1410" y="599"/>
                        <a:pt x="1410" y="599"/>
                        <a:pt x="1410" y="599"/>
                      </a:cubicBezTo>
                      <a:cubicBezTo>
                        <a:pt x="1410" y="550"/>
                        <a:pt x="1410" y="550"/>
                        <a:pt x="1410" y="550"/>
                      </a:cubicBezTo>
                      <a:cubicBezTo>
                        <a:pt x="1398" y="556"/>
                        <a:pt x="1383" y="561"/>
                        <a:pt x="1365" y="565"/>
                      </a:cubicBezTo>
                      <a:cubicBezTo>
                        <a:pt x="1326" y="575"/>
                        <a:pt x="1275" y="580"/>
                        <a:pt x="1221" y="580"/>
                      </a:cubicBezTo>
                      <a:close/>
                      <a:moveTo>
                        <a:pt x="989" y="1030"/>
                      </a:moveTo>
                      <a:cubicBezTo>
                        <a:pt x="935" y="1030"/>
                        <a:pt x="884" y="1024"/>
                        <a:pt x="845" y="1015"/>
                      </a:cubicBezTo>
                      <a:cubicBezTo>
                        <a:pt x="827" y="1011"/>
                        <a:pt x="812" y="1005"/>
                        <a:pt x="800" y="999"/>
                      </a:cubicBezTo>
                      <a:cubicBezTo>
                        <a:pt x="800" y="1049"/>
                        <a:pt x="800" y="1049"/>
                        <a:pt x="800" y="1049"/>
                      </a:cubicBezTo>
                      <a:cubicBezTo>
                        <a:pt x="801" y="1049"/>
                        <a:pt x="801" y="1049"/>
                        <a:pt x="801" y="1049"/>
                      </a:cubicBezTo>
                      <a:cubicBezTo>
                        <a:pt x="800" y="1050"/>
                        <a:pt x="800" y="1051"/>
                        <a:pt x="800" y="1052"/>
                      </a:cubicBezTo>
                      <a:cubicBezTo>
                        <a:pt x="800" y="1052"/>
                        <a:pt x="800" y="1052"/>
                        <a:pt x="800" y="1052"/>
                      </a:cubicBezTo>
                      <a:cubicBezTo>
                        <a:pt x="800" y="1077"/>
                        <a:pt x="885" y="1098"/>
                        <a:pt x="989" y="1098"/>
                      </a:cubicBezTo>
                      <a:cubicBezTo>
                        <a:pt x="1093" y="1098"/>
                        <a:pt x="1177" y="1077"/>
                        <a:pt x="1177" y="1052"/>
                      </a:cubicBezTo>
                      <a:cubicBezTo>
                        <a:pt x="1177" y="1052"/>
                        <a:pt x="1177" y="1052"/>
                        <a:pt x="1177" y="1052"/>
                      </a:cubicBezTo>
                      <a:cubicBezTo>
                        <a:pt x="1177" y="1051"/>
                        <a:pt x="1177" y="1050"/>
                        <a:pt x="1177" y="1049"/>
                      </a:cubicBezTo>
                      <a:cubicBezTo>
                        <a:pt x="1177" y="1049"/>
                        <a:pt x="1177" y="1049"/>
                        <a:pt x="1177" y="1049"/>
                      </a:cubicBezTo>
                      <a:cubicBezTo>
                        <a:pt x="1177" y="999"/>
                        <a:pt x="1177" y="999"/>
                        <a:pt x="1177" y="999"/>
                      </a:cubicBezTo>
                      <a:cubicBezTo>
                        <a:pt x="1165" y="1005"/>
                        <a:pt x="1150" y="1011"/>
                        <a:pt x="1133" y="1015"/>
                      </a:cubicBezTo>
                      <a:cubicBezTo>
                        <a:pt x="1094" y="1024"/>
                        <a:pt x="1043" y="1030"/>
                        <a:pt x="989" y="1030"/>
                      </a:cubicBezTo>
                      <a:close/>
                      <a:moveTo>
                        <a:pt x="1133" y="1127"/>
                      </a:moveTo>
                      <a:cubicBezTo>
                        <a:pt x="1094" y="1136"/>
                        <a:pt x="1043" y="1142"/>
                        <a:pt x="989" y="1142"/>
                      </a:cubicBezTo>
                      <a:cubicBezTo>
                        <a:pt x="935" y="1142"/>
                        <a:pt x="884" y="1136"/>
                        <a:pt x="845" y="1127"/>
                      </a:cubicBezTo>
                      <a:cubicBezTo>
                        <a:pt x="827" y="1123"/>
                        <a:pt x="812" y="1117"/>
                        <a:pt x="800" y="1112"/>
                      </a:cubicBezTo>
                      <a:cubicBezTo>
                        <a:pt x="800" y="1161"/>
                        <a:pt x="800" y="1161"/>
                        <a:pt x="800" y="1161"/>
                      </a:cubicBezTo>
                      <a:cubicBezTo>
                        <a:pt x="801" y="1161"/>
                        <a:pt x="801" y="1161"/>
                        <a:pt x="801" y="1161"/>
                      </a:cubicBezTo>
                      <a:cubicBezTo>
                        <a:pt x="800" y="1162"/>
                        <a:pt x="800" y="1162"/>
                        <a:pt x="800" y="1163"/>
                      </a:cubicBezTo>
                      <a:cubicBezTo>
                        <a:pt x="802" y="1188"/>
                        <a:pt x="886" y="1208"/>
                        <a:pt x="989" y="1208"/>
                      </a:cubicBezTo>
                      <a:cubicBezTo>
                        <a:pt x="1092" y="1208"/>
                        <a:pt x="1176" y="1188"/>
                        <a:pt x="1177" y="1163"/>
                      </a:cubicBezTo>
                      <a:cubicBezTo>
                        <a:pt x="1177" y="1162"/>
                        <a:pt x="1177" y="1162"/>
                        <a:pt x="1177" y="1161"/>
                      </a:cubicBezTo>
                      <a:cubicBezTo>
                        <a:pt x="1177" y="1161"/>
                        <a:pt x="1177" y="1161"/>
                        <a:pt x="1177" y="1161"/>
                      </a:cubicBezTo>
                      <a:cubicBezTo>
                        <a:pt x="1177" y="1112"/>
                        <a:pt x="1177" y="1112"/>
                        <a:pt x="1177" y="1112"/>
                      </a:cubicBezTo>
                      <a:cubicBezTo>
                        <a:pt x="1165" y="1117"/>
                        <a:pt x="1150" y="1123"/>
                        <a:pt x="1133" y="1127"/>
                      </a:cubicBezTo>
                      <a:close/>
                      <a:moveTo>
                        <a:pt x="989" y="986"/>
                      </a:moveTo>
                      <a:cubicBezTo>
                        <a:pt x="1091" y="986"/>
                        <a:pt x="1175" y="966"/>
                        <a:pt x="1177" y="941"/>
                      </a:cubicBezTo>
                      <a:cubicBezTo>
                        <a:pt x="1175" y="916"/>
                        <a:pt x="1091" y="896"/>
                        <a:pt x="989" y="896"/>
                      </a:cubicBezTo>
                      <a:cubicBezTo>
                        <a:pt x="886" y="896"/>
                        <a:pt x="803" y="916"/>
                        <a:pt x="800" y="941"/>
                      </a:cubicBezTo>
                      <a:cubicBezTo>
                        <a:pt x="803" y="966"/>
                        <a:pt x="886" y="986"/>
                        <a:pt x="989" y="986"/>
                      </a:cubicBezTo>
                      <a:close/>
                      <a:moveTo>
                        <a:pt x="1410" y="774"/>
                      </a:moveTo>
                      <a:cubicBezTo>
                        <a:pt x="1398" y="780"/>
                        <a:pt x="1383" y="785"/>
                        <a:pt x="1365" y="790"/>
                      </a:cubicBezTo>
                      <a:cubicBezTo>
                        <a:pt x="1326" y="799"/>
                        <a:pt x="1275" y="804"/>
                        <a:pt x="1221" y="804"/>
                      </a:cubicBezTo>
                      <a:cubicBezTo>
                        <a:pt x="1220" y="804"/>
                        <a:pt x="1219" y="804"/>
                        <a:pt x="1219" y="804"/>
                      </a:cubicBezTo>
                      <a:cubicBezTo>
                        <a:pt x="1222" y="806"/>
                        <a:pt x="1226" y="808"/>
                        <a:pt x="1230" y="810"/>
                      </a:cubicBezTo>
                      <a:cubicBezTo>
                        <a:pt x="1256" y="826"/>
                        <a:pt x="1276" y="846"/>
                        <a:pt x="1290" y="869"/>
                      </a:cubicBezTo>
                      <a:cubicBezTo>
                        <a:pt x="1360" y="863"/>
                        <a:pt x="1410" y="846"/>
                        <a:pt x="1410" y="826"/>
                      </a:cubicBezTo>
                      <a:cubicBezTo>
                        <a:pt x="1410" y="826"/>
                        <a:pt x="1410" y="826"/>
                        <a:pt x="1410" y="826"/>
                      </a:cubicBezTo>
                      <a:cubicBezTo>
                        <a:pt x="1410" y="825"/>
                        <a:pt x="1410" y="824"/>
                        <a:pt x="1409" y="824"/>
                      </a:cubicBezTo>
                      <a:cubicBezTo>
                        <a:pt x="1410" y="824"/>
                        <a:pt x="1410" y="824"/>
                        <a:pt x="1410" y="824"/>
                      </a:cubicBezTo>
                      <a:lnTo>
                        <a:pt x="1410" y="774"/>
                      </a:lnTo>
                      <a:close/>
                      <a:moveTo>
                        <a:pt x="1410" y="886"/>
                      </a:moveTo>
                      <a:cubicBezTo>
                        <a:pt x="1398" y="892"/>
                        <a:pt x="1383" y="897"/>
                        <a:pt x="1365" y="902"/>
                      </a:cubicBezTo>
                      <a:cubicBezTo>
                        <a:pt x="1348" y="906"/>
                        <a:pt x="1328" y="909"/>
                        <a:pt x="1306" y="912"/>
                      </a:cubicBezTo>
                      <a:cubicBezTo>
                        <a:pt x="1308" y="922"/>
                        <a:pt x="1309" y="932"/>
                        <a:pt x="1309" y="942"/>
                      </a:cubicBezTo>
                      <a:cubicBezTo>
                        <a:pt x="1309" y="979"/>
                        <a:pt x="1309" y="979"/>
                        <a:pt x="1309" y="979"/>
                      </a:cubicBezTo>
                      <a:cubicBezTo>
                        <a:pt x="1369" y="971"/>
                        <a:pt x="1410" y="956"/>
                        <a:pt x="1410" y="939"/>
                      </a:cubicBezTo>
                      <a:cubicBezTo>
                        <a:pt x="1410" y="939"/>
                        <a:pt x="1410" y="939"/>
                        <a:pt x="1410" y="939"/>
                      </a:cubicBezTo>
                      <a:cubicBezTo>
                        <a:pt x="1410" y="938"/>
                        <a:pt x="1410" y="937"/>
                        <a:pt x="1409" y="936"/>
                      </a:cubicBezTo>
                      <a:cubicBezTo>
                        <a:pt x="1410" y="936"/>
                        <a:pt x="1410" y="936"/>
                        <a:pt x="1410" y="936"/>
                      </a:cubicBezTo>
                      <a:lnTo>
                        <a:pt x="1410" y="886"/>
                      </a:lnTo>
                      <a:close/>
                      <a:moveTo>
                        <a:pt x="1410" y="998"/>
                      </a:moveTo>
                      <a:cubicBezTo>
                        <a:pt x="1398" y="1004"/>
                        <a:pt x="1383" y="1009"/>
                        <a:pt x="1365" y="1014"/>
                      </a:cubicBezTo>
                      <a:cubicBezTo>
                        <a:pt x="1348" y="1018"/>
                        <a:pt x="1330" y="1021"/>
                        <a:pt x="1309" y="1023"/>
                      </a:cubicBezTo>
                      <a:cubicBezTo>
                        <a:pt x="1309" y="1089"/>
                        <a:pt x="1309" y="1089"/>
                        <a:pt x="1309" y="1089"/>
                      </a:cubicBezTo>
                      <a:cubicBezTo>
                        <a:pt x="1368" y="1082"/>
                        <a:pt x="1409" y="1067"/>
                        <a:pt x="1410" y="1050"/>
                      </a:cubicBezTo>
                      <a:cubicBezTo>
                        <a:pt x="1410" y="1049"/>
                        <a:pt x="1410" y="1048"/>
                        <a:pt x="1409" y="1048"/>
                      </a:cubicBezTo>
                      <a:cubicBezTo>
                        <a:pt x="1410" y="1048"/>
                        <a:pt x="1410" y="1048"/>
                        <a:pt x="1410" y="1048"/>
                      </a:cubicBezTo>
                      <a:lnTo>
                        <a:pt x="1410" y="998"/>
                      </a:ln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lIns="41148" tIns="20574" rIns="41148" bIns="20574"/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36" name="Oval 35"/>
          <p:cNvSpPr/>
          <p:nvPr/>
        </p:nvSpPr>
        <p:spPr>
          <a:xfrm>
            <a:off x="7858041" y="4562408"/>
            <a:ext cx="742500" cy="741784"/>
          </a:xfrm>
          <a:prstGeom prst="ellipse">
            <a:avLst/>
          </a:prstGeom>
          <a:solidFill>
            <a:srgbClr val="FFFFFF"/>
          </a:solidFill>
          <a:ln w="38100" cap="rnd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8580" bIns="68580" anchor="ctr"/>
          <a:lstStyle/>
          <a:p>
            <a:pPr algn="ctr">
              <a:defRPr/>
            </a:pPr>
            <a:endParaRPr lang="en-US" sz="3600" b="1" kern="0" dirty="0">
              <a:solidFill>
                <a:schemeClr val="tx2"/>
              </a:solidFill>
              <a:latin typeface="Gill Sans MT" panose="020B0502020104020203" pitchFamily="34" charset="0"/>
              <a:cs typeface="Calibri" panose="020F0502020204030204" pitchFamily="34" charset="0"/>
            </a:endParaRPr>
          </a:p>
        </p:txBody>
      </p:sp>
      <p:sp>
        <p:nvSpPr>
          <p:cNvPr id="37" name="Oval 36"/>
          <p:cNvSpPr/>
          <p:nvPr/>
        </p:nvSpPr>
        <p:spPr>
          <a:xfrm>
            <a:off x="7858041" y="3545334"/>
            <a:ext cx="742500" cy="741784"/>
          </a:xfrm>
          <a:prstGeom prst="ellipse">
            <a:avLst/>
          </a:prstGeom>
          <a:solidFill>
            <a:srgbClr val="FFFFFF"/>
          </a:solidFill>
          <a:ln w="38100" cap="rnd">
            <a:gradFill flip="none" rotWithShape="1">
              <a:gsLst>
                <a:gs pos="0">
                  <a:schemeClr val="accent2"/>
                </a:gs>
                <a:gs pos="100000">
                  <a:schemeClr val="tx2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8580" bIns="68580" anchor="ctr"/>
          <a:lstStyle/>
          <a:p>
            <a:pPr algn="ctr">
              <a:defRPr/>
            </a:pPr>
            <a:endParaRPr lang="en-US" sz="3600" b="1" kern="0" dirty="0">
              <a:solidFill>
                <a:schemeClr val="tx2"/>
              </a:solidFill>
              <a:latin typeface="Gill Sans MT" panose="020B0502020104020203" pitchFamily="34" charset="0"/>
              <a:cs typeface="Calibri" panose="020F050202020403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8684420" y="1602582"/>
            <a:ext cx="1822847" cy="741760"/>
          </a:xfrm>
          <a:prstGeom prst="rect">
            <a:avLst/>
          </a:prstGeom>
          <a:noFill/>
          <a:ln w="9525" cap="rnd" cmpd="sng" algn="ctr">
            <a:noFill/>
            <a:prstDash val="sysDot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/>
          <a:lstStyle/>
          <a:p>
            <a:pPr>
              <a:lnSpc>
                <a:spcPct val="90000"/>
              </a:lnSpc>
              <a:spcAft>
                <a:spcPts val="750"/>
              </a:spcAft>
              <a:defRPr/>
            </a:pPr>
            <a:r>
              <a:rPr lang="en-US" dirty="0">
                <a:solidFill>
                  <a:schemeClr val="accent2"/>
                </a:solidFill>
                <a:latin typeface="Gill Sans MT" panose="020B0502020104020203" pitchFamily="34" charset="0"/>
              </a:rPr>
              <a:t>Agric. Pop. Labor force </a:t>
            </a:r>
          </a:p>
          <a:p>
            <a:pPr>
              <a:lnSpc>
                <a:spcPct val="90000"/>
              </a:lnSpc>
              <a:spcAft>
                <a:spcPts val="750"/>
              </a:spcAft>
              <a:defRPr/>
            </a:pPr>
            <a:r>
              <a:rPr lang="en-US" sz="1200" dirty="0">
                <a:solidFill>
                  <a:schemeClr val="tx1"/>
                </a:solidFill>
                <a:latin typeface="Gill Sans MT" panose="020B0502020104020203" pitchFamily="34" charset="0"/>
              </a:rPr>
              <a:t>64.5% (2023)</a:t>
            </a:r>
          </a:p>
        </p:txBody>
      </p:sp>
      <p:sp>
        <p:nvSpPr>
          <p:cNvPr id="39" name="Rectangle 38"/>
          <p:cNvSpPr/>
          <p:nvPr/>
        </p:nvSpPr>
        <p:spPr>
          <a:xfrm>
            <a:off x="8684420" y="2614613"/>
            <a:ext cx="1822847" cy="741760"/>
          </a:xfrm>
          <a:prstGeom prst="rect">
            <a:avLst/>
          </a:prstGeom>
          <a:noFill/>
          <a:ln w="9525" cap="rnd" cmpd="sng" algn="ctr">
            <a:noFill/>
            <a:prstDash val="sysDot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/>
          <a:lstStyle/>
          <a:p>
            <a:pPr>
              <a:lnSpc>
                <a:spcPct val="90000"/>
              </a:lnSpc>
              <a:spcAft>
                <a:spcPts val="750"/>
              </a:spcAft>
              <a:defRPr/>
            </a:pPr>
            <a:r>
              <a:rPr lang="en-US" dirty="0">
                <a:solidFill>
                  <a:schemeClr val="accent2"/>
                </a:solidFill>
                <a:latin typeface="Gill Sans MT" panose="020B0502020104020203" pitchFamily="34" charset="0"/>
              </a:rPr>
              <a:t>Agric. Share to GDP</a:t>
            </a:r>
          </a:p>
          <a:p>
            <a:pPr>
              <a:lnSpc>
                <a:spcPct val="90000"/>
              </a:lnSpc>
              <a:spcAft>
                <a:spcPts val="750"/>
              </a:spcAft>
              <a:defRPr/>
            </a:pPr>
            <a:r>
              <a:rPr lang="en-US" sz="1200" dirty="0">
                <a:solidFill>
                  <a:schemeClr val="tx1"/>
                </a:solidFill>
                <a:latin typeface="Gill Sans MT" panose="020B0502020104020203" pitchFamily="34" charset="0"/>
              </a:rPr>
              <a:t>25% (av. Last 5 years)</a:t>
            </a:r>
          </a:p>
        </p:txBody>
      </p:sp>
      <p:sp>
        <p:nvSpPr>
          <p:cNvPr id="40" name="Rectangle 39"/>
          <p:cNvSpPr/>
          <p:nvPr/>
        </p:nvSpPr>
        <p:spPr>
          <a:xfrm>
            <a:off x="8684420" y="3652838"/>
            <a:ext cx="1822847" cy="741760"/>
          </a:xfrm>
          <a:prstGeom prst="rect">
            <a:avLst/>
          </a:prstGeom>
          <a:noFill/>
          <a:ln w="9525" cap="rnd" cmpd="sng" algn="ctr">
            <a:noFill/>
            <a:prstDash val="sysDot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/>
          <a:lstStyle/>
          <a:p>
            <a:pPr>
              <a:lnSpc>
                <a:spcPct val="90000"/>
              </a:lnSpc>
              <a:spcAft>
                <a:spcPts val="750"/>
              </a:spcAft>
              <a:defRPr/>
            </a:pPr>
            <a:r>
              <a:rPr lang="en-US" dirty="0">
                <a:solidFill>
                  <a:schemeClr val="accent2"/>
                </a:solidFill>
                <a:latin typeface="Gill Sans MT" panose="020B0502020104020203" pitchFamily="34" charset="0"/>
              </a:rPr>
              <a:t>Agric. Share to National Export </a:t>
            </a:r>
          </a:p>
          <a:p>
            <a:pPr>
              <a:lnSpc>
                <a:spcPct val="90000"/>
              </a:lnSpc>
              <a:spcAft>
                <a:spcPts val="750"/>
              </a:spcAft>
              <a:defRPr/>
            </a:pPr>
            <a:r>
              <a:rPr lang="en-US" sz="1200" dirty="0">
                <a:solidFill>
                  <a:schemeClr val="tx1"/>
                </a:solidFill>
                <a:latin typeface="Gill Sans MT" panose="020B0502020104020203" pitchFamily="34" charset="0"/>
              </a:rPr>
              <a:t>37% (FY 2021/2022)</a:t>
            </a:r>
          </a:p>
        </p:txBody>
      </p:sp>
      <p:sp>
        <p:nvSpPr>
          <p:cNvPr id="41" name="Rectangle 40"/>
          <p:cNvSpPr/>
          <p:nvPr/>
        </p:nvSpPr>
        <p:spPr>
          <a:xfrm>
            <a:off x="8664179" y="4562475"/>
            <a:ext cx="1822847" cy="741760"/>
          </a:xfrm>
          <a:prstGeom prst="rect">
            <a:avLst/>
          </a:prstGeom>
          <a:noFill/>
          <a:ln w="9525" cap="rnd" cmpd="sng" algn="ctr">
            <a:noFill/>
            <a:prstDash val="sysDot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/>
          <a:lstStyle/>
          <a:p>
            <a:pPr>
              <a:lnSpc>
                <a:spcPct val="90000"/>
              </a:lnSpc>
              <a:spcAft>
                <a:spcPts val="750"/>
              </a:spcAft>
              <a:defRPr/>
            </a:pPr>
            <a:r>
              <a:rPr lang="en-US" dirty="0">
                <a:solidFill>
                  <a:schemeClr val="accent2"/>
                </a:solidFill>
                <a:latin typeface="Gill Sans MT" panose="020B0502020104020203" pitchFamily="34" charset="0"/>
              </a:rPr>
              <a:t>Food Secure Household</a:t>
            </a:r>
          </a:p>
          <a:p>
            <a:pPr>
              <a:lnSpc>
                <a:spcPct val="90000"/>
              </a:lnSpc>
              <a:spcAft>
                <a:spcPts val="750"/>
              </a:spcAft>
              <a:defRPr/>
            </a:pPr>
            <a:r>
              <a:rPr lang="en-US" sz="1200" dirty="0">
                <a:solidFill>
                  <a:schemeClr val="tx1"/>
                </a:solidFill>
                <a:latin typeface="Gill Sans MT" panose="020B0502020104020203" pitchFamily="34" charset="0"/>
              </a:rPr>
              <a:t>79.4% (2021)</a:t>
            </a:r>
          </a:p>
        </p:txBody>
      </p:sp>
      <p:grpSp>
        <p:nvGrpSpPr>
          <p:cNvPr id="18457" name="Group 41"/>
          <p:cNvGrpSpPr>
            <a:grpSpLocks/>
          </p:cNvGrpSpPr>
          <p:nvPr/>
        </p:nvGrpSpPr>
        <p:grpSpPr bwMode="auto">
          <a:xfrm>
            <a:off x="7818835" y="1510905"/>
            <a:ext cx="742950" cy="741759"/>
            <a:chOff x="4482478" y="3935914"/>
            <a:chExt cx="990000" cy="989045"/>
          </a:xfrm>
        </p:grpSpPr>
        <p:sp>
          <p:nvSpPr>
            <p:cNvPr id="43" name="Oval 42"/>
            <p:cNvSpPr/>
            <p:nvPr/>
          </p:nvSpPr>
          <p:spPr>
            <a:xfrm>
              <a:off x="4482478" y="3935914"/>
              <a:ext cx="990000" cy="989045"/>
            </a:xfrm>
            <a:prstGeom prst="ellipse">
              <a:avLst/>
            </a:prstGeom>
            <a:solidFill>
              <a:srgbClr val="FFFFFF"/>
            </a:solidFill>
            <a:ln w="38100" cap="rnd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68580" bIns="68580" anchor="ctr"/>
            <a:lstStyle/>
            <a:p>
              <a:pPr algn="ctr">
                <a:defRPr/>
              </a:pPr>
              <a:endParaRPr lang="en-US" sz="3600" b="1" kern="0" dirty="0">
                <a:solidFill>
                  <a:schemeClr val="tx2"/>
                </a:solidFill>
                <a:latin typeface="Gill Sans MT" panose="020B0502020104020203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8496" name="AutoShape 17"/>
            <p:cNvSpPr>
              <a:spLocks noChangeAspect="1" noChangeArrowheads="1" noTextEdit="1"/>
            </p:cNvSpPr>
            <p:nvPr/>
          </p:nvSpPr>
          <p:spPr bwMode="auto">
            <a:xfrm>
              <a:off x="4634578" y="4087537"/>
              <a:ext cx="685800" cy="685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1148" tIns="20574" rIns="41148" bIns="20574"/>
            <a:lstStyle/>
            <a:p>
              <a:endParaRPr lang="en-US"/>
            </a:p>
          </p:txBody>
        </p:sp>
      </p:grpSp>
      <p:grpSp>
        <p:nvGrpSpPr>
          <p:cNvPr id="18458" name="Group 48"/>
          <p:cNvGrpSpPr>
            <a:grpSpLocks/>
          </p:cNvGrpSpPr>
          <p:nvPr/>
        </p:nvGrpSpPr>
        <p:grpSpPr bwMode="auto">
          <a:xfrm>
            <a:off x="7858125" y="2527698"/>
            <a:ext cx="742950" cy="741759"/>
            <a:chOff x="4482478" y="5292013"/>
            <a:chExt cx="990000" cy="989045"/>
          </a:xfrm>
        </p:grpSpPr>
        <p:sp>
          <p:nvSpPr>
            <p:cNvPr id="50" name="Oval 49"/>
            <p:cNvSpPr/>
            <p:nvPr/>
          </p:nvSpPr>
          <p:spPr>
            <a:xfrm>
              <a:off x="4482478" y="5292013"/>
              <a:ext cx="990000" cy="989045"/>
            </a:xfrm>
            <a:prstGeom prst="ellipse">
              <a:avLst/>
            </a:prstGeom>
            <a:solidFill>
              <a:srgbClr val="FFFFFF"/>
            </a:solidFill>
            <a:ln w="38100" cap="rnd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68580" bIns="68580" anchor="ctr"/>
            <a:lstStyle/>
            <a:p>
              <a:pPr algn="ctr">
                <a:defRPr/>
              </a:pPr>
              <a:endParaRPr lang="en-US" sz="3600" b="1" kern="0" dirty="0">
                <a:solidFill>
                  <a:schemeClr val="tx2"/>
                </a:solidFill>
                <a:latin typeface="Gill Sans MT" panose="020B0502020104020203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18488" name="Group 50"/>
            <p:cNvGrpSpPr>
              <a:grpSpLocks/>
            </p:cNvGrpSpPr>
            <p:nvPr/>
          </p:nvGrpSpPr>
          <p:grpSpPr bwMode="auto">
            <a:xfrm>
              <a:off x="4634578" y="5443636"/>
              <a:ext cx="685800" cy="685800"/>
              <a:chOff x="5273801" y="2606040"/>
              <a:chExt cx="1644396" cy="1645920"/>
            </a:xfrm>
          </p:grpSpPr>
          <p:sp>
            <p:nvSpPr>
              <p:cNvPr id="18489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5273801" y="2606040"/>
                <a:ext cx="1644396" cy="1645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41148" tIns="20574" rIns="41148" bIns="20574"/>
              <a:lstStyle/>
              <a:p>
                <a:endParaRPr lang="en-US"/>
              </a:p>
            </p:txBody>
          </p:sp>
          <p:grpSp>
            <p:nvGrpSpPr>
              <p:cNvPr id="18490" name="Group 52"/>
              <p:cNvGrpSpPr>
                <a:grpSpLocks/>
              </p:cNvGrpSpPr>
              <p:nvPr/>
            </p:nvGrpSpPr>
            <p:grpSpPr bwMode="auto">
              <a:xfrm>
                <a:off x="5337428" y="2968371"/>
                <a:ext cx="1514475" cy="922020"/>
                <a:chOff x="5337428" y="2968371"/>
                <a:chExt cx="1514475" cy="922020"/>
              </a:xfrm>
            </p:grpSpPr>
            <p:sp>
              <p:nvSpPr>
                <p:cNvPr id="54" name="Freeform 5"/>
                <p:cNvSpPr>
                  <a:spLocks noEditPoints="1"/>
                </p:cNvSpPr>
                <p:nvPr/>
              </p:nvSpPr>
              <p:spPr bwMode="auto">
                <a:xfrm>
                  <a:off x="5415055" y="3030840"/>
                  <a:ext cx="1373303" cy="788698"/>
                </a:xfrm>
                <a:custGeom>
                  <a:avLst/>
                  <a:gdLst>
                    <a:gd name="T0" fmla="*/ 1146 w 1930"/>
                    <a:gd name="T1" fmla="*/ 274 h 1119"/>
                    <a:gd name="T2" fmla="*/ 872 w 1930"/>
                    <a:gd name="T3" fmla="*/ 547 h 1119"/>
                    <a:gd name="T4" fmla="*/ 599 w 1930"/>
                    <a:gd name="T5" fmla="*/ 274 h 1119"/>
                    <a:gd name="T6" fmla="*/ 652 w 1930"/>
                    <a:gd name="T7" fmla="*/ 112 h 1119"/>
                    <a:gd name="T8" fmla="*/ 873 w 1930"/>
                    <a:gd name="T9" fmla="*/ 277 h 1119"/>
                    <a:gd name="T10" fmla="*/ 880 w 1930"/>
                    <a:gd name="T11" fmla="*/ 0 h 1119"/>
                    <a:gd name="T12" fmla="*/ 1146 w 1930"/>
                    <a:gd name="T13" fmla="*/ 274 h 1119"/>
                    <a:gd name="T14" fmla="*/ 222 w 1930"/>
                    <a:gd name="T15" fmla="*/ 742 h 1119"/>
                    <a:gd name="T16" fmla="*/ 222 w 1930"/>
                    <a:gd name="T17" fmla="*/ 1109 h 1119"/>
                    <a:gd name="T18" fmla="*/ 232 w 1930"/>
                    <a:gd name="T19" fmla="*/ 1119 h 1119"/>
                    <a:gd name="T20" fmla="*/ 352 w 1930"/>
                    <a:gd name="T21" fmla="*/ 1119 h 1119"/>
                    <a:gd name="T22" fmla="*/ 362 w 1930"/>
                    <a:gd name="T23" fmla="*/ 1109 h 1119"/>
                    <a:gd name="T24" fmla="*/ 362 w 1930"/>
                    <a:gd name="T25" fmla="*/ 742 h 1119"/>
                    <a:gd name="T26" fmla="*/ 352 w 1930"/>
                    <a:gd name="T27" fmla="*/ 732 h 1119"/>
                    <a:gd name="T28" fmla="*/ 232 w 1930"/>
                    <a:gd name="T29" fmla="*/ 732 h 1119"/>
                    <a:gd name="T30" fmla="*/ 222 w 1930"/>
                    <a:gd name="T31" fmla="*/ 742 h 1119"/>
                    <a:gd name="T32" fmla="*/ 443 w 1930"/>
                    <a:gd name="T33" fmla="*/ 583 h 1119"/>
                    <a:gd name="T34" fmla="*/ 443 w 1930"/>
                    <a:gd name="T35" fmla="*/ 1109 h 1119"/>
                    <a:gd name="T36" fmla="*/ 453 w 1930"/>
                    <a:gd name="T37" fmla="*/ 1119 h 1119"/>
                    <a:gd name="T38" fmla="*/ 574 w 1930"/>
                    <a:gd name="T39" fmla="*/ 1119 h 1119"/>
                    <a:gd name="T40" fmla="*/ 584 w 1930"/>
                    <a:gd name="T41" fmla="*/ 1109 h 1119"/>
                    <a:gd name="T42" fmla="*/ 584 w 1930"/>
                    <a:gd name="T43" fmla="*/ 583 h 1119"/>
                    <a:gd name="T44" fmla="*/ 574 w 1930"/>
                    <a:gd name="T45" fmla="*/ 573 h 1119"/>
                    <a:gd name="T46" fmla="*/ 453 w 1930"/>
                    <a:gd name="T47" fmla="*/ 573 h 1119"/>
                    <a:gd name="T48" fmla="*/ 443 w 1930"/>
                    <a:gd name="T49" fmla="*/ 583 h 1119"/>
                    <a:gd name="T50" fmla="*/ 0 w 1930"/>
                    <a:gd name="T51" fmla="*/ 936 h 1119"/>
                    <a:gd name="T52" fmla="*/ 0 w 1930"/>
                    <a:gd name="T53" fmla="*/ 1109 h 1119"/>
                    <a:gd name="T54" fmla="*/ 10 w 1930"/>
                    <a:gd name="T55" fmla="*/ 1119 h 1119"/>
                    <a:gd name="T56" fmla="*/ 130 w 1930"/>
                    <a:gd name="T57" fmla="*/ 1119 h 1119"/>
                    <a:gd name="T58" fmla="*/ 140 w 1930"/>
                    <a:gd name="T59" fmla="*/ 1109 h 1119"/>
                    <a:gd name="T60" fmla="*/ 140 w 1930"/>
                    <a:gd name="T61" fmla="*/ 936 h 1119"/>
                    <a:gd name="T62" fmla="*/ 130 w 1930"/>
                    <a:gd name="T63" fmla="*/ 926 h 1119"/>
                    <a:gd name="T64" fmla="*/ 10 w 1930"/>
                    <a:gd name="T65" fmla="*/ 926 h 1119"/>
                    <a:gd name="T66" fmla="*/ 0 w 1930"/>
                    <a:gd name="T67" fmla="*/ 936 h 1119"/>
                    <a:gd name="T68" fmla="*/ 1832 w 1930"/>
                    <a:gd name="T69" fmla="*/ 724 h 1119"/>
                    <a:gd name="T70" fmla="*/ 1811 w 1930"/>
                    <a:gd name="T71" fmla="*/ 722 h 1119"/>
                    <a:gd name="T72" fmla="*/ 1708 w 1930"/>
                    <a:gd name="T73" fmla="*/ 804 h 1119"/>
                    <a:gd name="T74" fmla="*/ 1604 w 1930"/>
                    <a:gd name="T75" fmla="*/ 907 h 1119"/>
                    <a:gd name="T76" fmla="*/ 1503 w 1930"/>
                    <a:gd name="T77" fmla="*/ 827 h 1119"/>
                    <a:gd name="T78" fmla="*/ 1442 w 1930"/>
                    <a:gd name="T79" fmla="*/ 798 h 1119"/>
                    <a:gd name="T80" fmla="*/ 1399 w 1930"/>
                    <a:gd name="T81" fmla="*/ 808 h 1119"/>
                    <a:gd name="T82" fmla="*/ 1394 w 1930"/>
                    <a:gd name="T83" fmla="*/ 807 h 1119"/>
                    <a:gd name="T84" fmla="*/ 1332 w 1930"/>
                    <a:gd name="T85" fmla="*/ 875 h 1119"/>
                    <a:gd name="T86" fmla="*/ 1333 w 1930"/>
                    <a:gd name="T87" fmla="*/ 890 h 1119"/>
                    <a:gd name="T88" fmla="*/ 1252 w 1930"/>
                    <a:gd name="T89" fmla="*/ 992 h 1119"/>
                    <a:gd name="T90" fmla="*/ 1184 w 1930"/>
                    <a:gd name="T91" fmla="*/ 984 h 1119"/>
                    <a:gd name="T92" fmla="*/ 1024 w 1930"/>
                    <a:gd name="T93" fmla="*/ 1058 h 1119"/>
                    <a:gd name="T94" fmla="*/ 1024 w 1930"/>
                    <a:gd name="T95" fmla="*/ 1105 h 1119"/>
                    <a:gd name="T96" fmla="*/ 1034 w 1930"/>
                    <a:gd name="T97" fmla="*/ 1115 h 1119"/>
                    <a:gd name="T98" fmla="*/ 1920 w 1930"/>
                    <a:gd name="T99" fmla="*/ 1115 h 1119"/>
                    <a:gd name="T100" fmla="*/ 1930 w 1930"/>
                    <a:gd name="T101" fmla="*/ 1105 h 1119"/>
                    <a:gd name="T102" fmla="*/ 1930 w 1930"/>
                    <a:gd name="T103" fmla="*/ 655 h 1119"/>
                    <a:gd name="T104" fmla="*/ 1832 w 1930"/>
                    <a:gd name="T105" fmla="*/ 724 h 11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930" h="1119">
                      <a:moveTo>
                        <a:pt x="1146" y="274"/>
                      </a:moveTo>
                      <a:cubicBezTo>
                        <a:pt x="1146" y="424"/>
                        <a:pt x="1023" y="547"/>
                        <a:pt x="872" y="547"/>
                      </a:cubicBezTo>
                      <a:cubicBezTo>
                        <a:pt x="721" y="547"/>
                        <a:pt x="599" y="424"/>
                        <a:pt x="599" y="274"/>
                      </a:cubicBezTo>
                      <a:cubicBezTo>
                        <a:pt x="599" y="213"/>
                        <a:pt x="618" y="157"/>
                        <a:pt x="652" y="112"/>
                      </a:cubicBezTo>
                      <a:cubicBezTo>
                        <a:pt x="873" y="277"/>
                        <a:pt x="873" y="277"/>
                        <a:pt x="873" y="277"/>
                      </a:cubicBezTo>
                      <a:cubicBezTo>
                        <a:pt x="880" y="0"/>
                        <a:pt x="880" y="0"/>
                        <a:pt x="880" y="0"/>
                      </a:cubicBezTo>
                      <a:cubicBezTo>
                        <a:pt x="1027" y="5"/>
                        <a:pt x="1146" y="125"/>
                        <a:pt x="1146" y="274"/>
                      </a:cubicBezTo>
                      <a:close/>
                      <a:moveTo>
                        <a:pt x="222" y="742"/>
                      </a:moveTo>
                      <a:cubicBezTo>
                        <a:pt x="222" y="1109"/>
                        <a:pt x="222" y="1109"/>
                        <a:pt x="222" y="1109"/>
                      </a:cubicBezTo>
                      <a:cubicBezTo>
                        <a:pt x="222" y="1115"/>
                        <a:pt x="226" y="1119"/>
                        <a:pt x="232" y="1119"/>
                      </a:cubicBezTo>
                      <a:cubicBezTo>
                        <a:pt x="352" y="1119"/>
                        <a:pt x="352" y="1119"/>
                        <a:pt x="352" y="1119"/>
                      </a:cubicBezTo>
                      <a:cubicBezTo>
                        <a:pt x="358" y="1119"/>
                        <a:pt x="362" y="1115"/>
                        <a:pt x="362" y="1109"/>
                      </a:cubicBezTo>
                      <a:cubicBezTo>
                        <a:pt x="362" y="742"/>
                        <a:pt x="362" y="742"/>
                        <a:pt x="362" y="742"/>
                      </a:cubicBezTo>
                      <a:cubicBezTo>
                        <a:pt x="362" y="737"/>
                        <a:pt x="358" y="732"/>
                        <a:pt x="352" y="732"/>
                      </a:cubicBezTo>
                      <a:cubicBezTo>
                        <a:pt x="232" y="732"/>
                        <a:pt x="232" y="732"/>
                        <a:pt x="232" y="732"/>
                      </a:cubicBezTo>
                      <a:cubicBezTo>
                        <a:pt x="226" y="732"/>
                        <a:pt x="222" y="737"/>
                        <a:pt x="222" y="742"/>
                      </a:cubicBezTo>
                      <a:close/>
                      <a:moveTo>
                        <a:pt x="443" y="583"/>
                      </a:moveTo>
                      <a:cubicBezTo>
                        <a:pt x="443" y="1109"/>
                        <a:pt x="443" y="1109"/>
                        <a:pt x="443" y="1109"/>
                      </a:cubicBezTo>
                      <a:cubicBezTo>
                        <a:pt x="443" y="1115"/>
                        <a:pt x="448" y="1119"/>
                        <a:pt x="453" y="1119"/>
                      </a:cubicBezTo>
                      <a:cubicBezTo>
                        <a:pt x="574" y="1119"/>
                        <a:pt x="574" y="1119"/>
                        <a:pt x="574" y="1119"/>
                      </a:cubicBezTo>
                      <a:cubicBezTo>
                        <a:pt x="580" y="1119"/>
                        <a:pt x="584" y="1115"/>
                        <a:pt x="584" y="1109"/>
                      </a:cubicBezTo>
                      <a:cubicBezTo>
                        <a:pt x="584" y="583"/>
                        <a:pt x="584" y="583"/>
                        <a:pt x="584" y="583"/>
                      </a:cubicBezTo>
                      <a:cubicBezTo>
                        <a:pt x="584" y="578"/>
                        <a:pt x="580" y="573"/>
                        <a:pt x="574" y="573"/>
                      </a:cubicBezTo>
                      <a:cubicBezTo>
                        <a:pt x="453" y="573"/>
                        <a:pt x="453" y="573"/>
                        <a:pt x="453" y="573"/>
                      </a:cubicBezTo>
                      <a:cubicBezTo>
                        <a:pt x="448" y="573"/>
                        <a:pt x="443" y="578"/>
                        <a:pt x="443" y="583"/>
                      </a:cubicBezTo>
                      <a:close/>
                      <a:moveTo>
                        <a:pt x="0" y="936"/>
                      </a:moveTo>
                      <a:cubicBezTo>
                        <a:pt x="0" y="1109"/>
                        <a:pt x="0" y="1109"/>
                        <a:pt x="0" y="1109"/>
                      </a:cubicBezTo>
                      <a:cubicBezTo>
                        <a:pt x="0" y="1115"/>
                        <a:pt x="4" y="1119"/>
                        <a:pt x="10" y="1119"/>
                      </a:cubicBezTo>
                      <a:cubicBezTo>
                        <a:pt x="130" y="1119"/>
                        <a:pt x="130" y="1119"/>
                        <a:pt x="130" y="1119"/>
                      </a:cubicBezTo>
                      <a:cubicBezTo>
                        <a:pt x="136" y="1119"/>
                        <a:pt x="140" y="1115"/>
                        <a:pt x="140" y="1109"/>
                      </a:cubicBezTo>
                      <a:cubicBezTo>
                        <a:pt x="140" y="936"/>
                        <a:pt x="140" y="936"/>
                        <a:pt x="140" y="936"/>
                      </a:cubicBezTo>
                      <a:cubicBezTo>
                        <a:pt x="140" y="930"/>
                        <a:pt x="136" y="926"/>
                        <a:pt x="130" y="926"/>
                      </a:cubicBezTo>
                      <a:cubicBezTo>
                        <a:pt x="10" y="926"/>
                        <a:pt x="10" y="926"/>
                        <a:pt x="10" y="926"/>
                      </a:cubicBezTo>
                      <a:cubicBezTo>
                        <a:pt x="4" y="926"/>
                        <a:pt x="0" y="930"/>
                        <a:pt x="0" y="936"/>
                      </a:cubicBezTo>
                      <a:close/>
                      <a:moveTo>
                        <a:pt x="1832" y="724"/>
                      </a:moveTo>
                      <a:cubicBezTo>
                        <a:pt x="1825" y="724"/>
                        <a:pt x="1818" y="723"/>
                        <a:pt x="1811" y="722"/>
                      </a:cubicBezTo>
                      <a:cubicBezTo>
                        <a:pt x="1708" y="804"/>
                        <a:pt x="1708" y="804"/>
                        <a:pt x="1708" y="804"/>
                      </a:cubicBezTo>
                      <a:cubicBezTo>
                        <a:pt x="1707" y="861"/>
                        <a:pt x="1661" y="907"/>
                        <a:pt x="1604" y="907"/>
                      </a:cubicBezTo>
                      <a:cubicBezTo>
                        <a:pt x="1555" y="907"/>
                        <a:pt x="1514" y="873"/>
                        <a:pt x="1503" y="827"/>
                      </a:cubicBezTo>
                      <a:cubicBezTo>
                        <a:pt x="1442" y="798"/>
                        <a:pt x="1442" y="798"/>
                        <a:pt x="1442" y="798"/>
                      </a:cubicBezTo>
                      <a:cubicBezTo>
                        <a:pt x="1429" y="804"/>
                        <a:pt x="1414" y="808"/>
                        <a:pt x="1399" y="808"/>
                      </a:cubicBezTo>
                      <a:cubicBezTo>
                        <a:pt x="1397" y="808"/>
                        <a:pt x="1395" y="808"/>
                        <a:pt x="1394" y="807"/>
                      </a:cubicBezTo>
                      <a:cubicBezTo>
                        <a:pt x="1332" y="875"/>
                        <a:pt x="1332" y="875"/>
                        <a:pt x="1332" y="875"/>
                      </a:cubicBezTo>
                      <a:cubicBezTo>
                        <a:pt x="1333" y="880"/>
                        <a:pt x="1333" y="885"/>
                        <a:pt x="1333" y="890"/>
                      </a:cubicBezTo>
                      <a:cubicBezTo>
                        <a:pt x="1333" y="939"/>
                        <a:pt x="1300" y="982"/>
                        <a:pt x="1252" y="992"/>
                      </a:cubicBezTo>
                      <a:cubicBezTo>
                        <a:pt x="1228" y="997"/>
                        <a:pt x="1204" y="994"/>
                        <a:pt x="1184" y="984"/>
                      </a:cubicBezTo>
                      <a:cubicBezTo>
                        <a:pt x="1024" y="1058"/>
                        <a:pt x="1024" y="1058"/>
                        <a:pt x="1024" y="1058"/>
                      </a:cubicBezTo>
                      <a:cubicBezTo>
                        <a:pt x="1024" y="1105"/>
                        <a:pt x="1024" y="1105"/>
                        <a:pt x="1024" y="1105"/>
                      </a:cubicBezTo>
                      <a:cubicBezTo>
                        <a:pt x="1024" y="1111"/>
                        <a:pt x="1028" y="1115"/>
                        <a:pt x="1034" y="1115"/>
                      </a:cubicBezTo>
                      <a:cubicBezTo>
                        <a:pt x="1920" y="1115"/>
                        <a:pt x="1920" y="1115"/>
                        <a:pt x="1920" y="1115"/>
                      </a:cubicBezTo>
                      <a:cubicBezTo>
                        <a:pt x="1926" y="1115"/>
                        <a:pt x="1930" y="1111"/>
                        <a:pt x="1930" y="1105"/>
                      </a:cubicBezTo>
                      <a:cubicBezTo>
                        <a:pt x="1930" y="655"/>
                        <a:pt x="1930" y="655"/>
                        <a:pt x="1930" y="655"/>
                      </a:cubicBezTo>
                      <a:cubicBezTo>
                        <a:pt x="1916" y="695"/>
                        <a:pt x="1877" y="724"/>
                        <a:pt x="1832" y="724"/>
                      </a:cubicBez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txBody>
                <a:bodyPr lIns="41148" tIns="20574" rIns="41148" bIns="20574"/>
                <a:lstStyle/>
                <a:p>
                  <a:pPr>
                    <a:defRPr/>
                  </a:pPr>
                  <a:endParaRPr lang="en-GB" dirty="0">
                    <a:latin typeface="Gill Sans MT" panose="020B0502020104020203" pitchFamily="34" charset="0"/>
                  </a:endParaRPr>
                </a:p>
              </p:txBody>
            </p:sp>
            <p:sp>
              <p:nvSpPr>
                <p:cNvPr id="18492" name="Freeform 6"/>
                <p:cNvSpPr>
                  <a:spLocks noEditPoints="1"/>
                </p:cNvSpPr>
                <p:nvPr/>
              </p:nvSpPr>
              <p:spPr bwMode="auto">
                <a:xfrm>
                  <a:off x="5337428" y="2968371"/>
                  <a:ext cx="1514475" cy="922020"/>
                </a:xfrm>
                <a:custGeom>
                  <a:avLst/>
                  <a:gdLst>
                    <a:gd name="T0" fmla="*/ 2147483646 w 2122"/>
                    <a:gd name="T1" fmla="*/ 2147483646 h 1291"/>
                    <a:gd name="T2" fmla="*/ 2147483646 w 2122"/>
                    <a:gd name="T3" fmla="*/ 0 h 1291"/>
                    <a:gd name="T4" fmla="*/ 2147483646 w 2122"/>
                    <a:gd name="T5" fmla="*/ 2147483646 h 1291"/>
                    <a:gd name="T6" fmla="*/ 0 w 2122"/>
                    <a:gd name="T7" fmla="*/ 2147483646 h 1291"/>
                    <a:gd name="T8" fmla="*/ 2147483646 w 2122"/>
                    <a:gd name="T9" fmla="*/ 2147483646 h 1291"/>
                    <a:gd name="T10" fmla="*/ 2147483646 w 2122"/>
                    <a:gd name="T11" fmla="*/ 2147483646 h 1291"/>
                    <a:gd name="T12" fmla="*/ 2147483646 w 2122"/>
                    <a:gd name="T13" fmla="*/ 2147483646 h 1291"/>
                    <a:gd name="T14" fmla="*/ 2147483646 w 2122"/>
                    <a:gd name="T15" fmla="*/ 2147483646 h 1291"/>
                    <a:gd name="T16" fmla="*/ 2147483646 w 2122"/>
                    <a:gd name="T17" fmla="*/ 2147483646 h 1291"/>
                    <a:gd name="T18" fmla="*/ 2147483646 w 2122"/>
                    <a:gd name="T19" fmla="*/ 2147483646 h 1291"/>
                    <a:gd name="T20" fmla="*/ 2147483646 w 2122"/>
                    <a:gd name="T21" fmla="*/ 2147483646 h 1291"/>
                    <a:gd name="T22" fmla="*/ 2147483646 w 2122"/>
                    <a:gd name="T23" fmla="*/ 2147483646 h 1291"/>
                    <a:gd name="T24" fmla="*/ 2147483646 w 2122"/>
                    <a:gd name="T25" fmla="*/ 2147483646 h 1291"/>
                    <a:gd name="T26" fmla="*/ 2147483646 w 2122"/>
                    <a:gd name="T27" fmla="*/ 2147483646 h 1291"/>
                    <a:gd name="T28" fmla="*/ 2147483646 w 2122"/>
                    <a:gd name="T29" fmla="*/ 2147483646 h 1291"/>
                    <a:gd name="T30" fmla="*/ 2147483646 w 2122"/>
                    <a:gd name="T31" fmla="*/ 2147483646 h 1291"/>
                    <a:gd name="T32" fmla="*/ 2147483646 w 2122"/>
                    <a:gd name="T33" fmla="*/ 2147483646 h 1291"/>
                    <a:gd name="T34" fmla="*/ 2147483646 w 2122"/>
                    <a:gd name="T35" fmla="*/ 2147483646 h 1291"/>
                    <a:gd name="T36" fmla="*/ 2147483646 w 2122"/>
                    <a:gd name="T37" fmla="*/ 2147483646 h 1291"/>
                    <a:gd name="T38" fmla="*/ 2147483646 w 2122"/>
                    <a:gd name="T39" fmla="*/ 2147483646 h 1291"/>
                    <a:gd name="T40" fmla="*/ 2147483646 w 2122"/>
                    <a:gd name="T41" fmla="*/ 2147483646 h 1291"/>
                    <a:gd name="T42" fmla="*/ 2147483646 w 2122"/>
                    <a:gd name="T43" fmla="*/ 2147483646 h 1291"/>
                    <a:gd name="T44" fmla="*/ 2147483646 w 2122"/>
                    <a:gd name="T45" fmla="*/ 2147483646 h 1291"/>
                    <a:gd name="T46" fmla="*/ 2147483646 w 2122"/>
                    <a:gd name="T47" fmla="*/ 2147483646 h 1291"/>
                    <a:gd name="T48" fmla="*/ 2147483646 w 2122"/>
                    <a:gd name="T49" fmla="*/ 2147483646 h 1291"/>
                    <a:gd name="T50" fmla="*/ 2147483646 w 2122"/>
                    <a:gd name="T51" fmla="*/ 2147483646 h 1291"/>
                    <a:gd name="T52" fmla="*/ 2147483646 w 2122"/>
                    <a:gd name="T53" fmla="*/ 2147483646 h 1291"/>
                    <a:gd name="T54" fmla="*/ 2147483646 w 2122"/>
                    <a:gd name="T55" fmla="*/ 2147483646 h 1291"/>
                    <a:gd name="T56" fmla="*/ 2147483646 w 2122"/>
                    <a:gd name="T57" fmla="*/ 2147483646 h 1291"/>
                    <a:gd name="T58" fmla="*/ 2147483646 w 2122"/>
                    <a:gd name="T59" fmla="*/ 2147483646 h 1291"/>
                    <a:gd name="T60" fmla="*/ 2147483646 w 2122"/>
                    <a:gd name="T61" fmla="*/ 2147483646 h 1291"/>
                    <a:gd name="T62" fmla="*/ 2147483646 w 2122"/>
                    <a:gd name="T63" fmla="*/ 2147483646 h 1291"/>
                    <a:gd name="T64" fmla="*/ 2147483646 w 2122"/>
                    <a:gd name="T65" fmla="*/ 2147483646 h 1291"/>
                    <a:gd name="T66" fmla="*/ 2147483646 w 2122"/>
                    <a:gd name="T67" fmla="*/ 2147483646 h 1291"/>
                    <a:gd name="T68" fmla="*/ 2147483646 w 2122"/>
                    <a:gd name="T69" fmla="*/ 2147483646 h 1291"/>
                    <a:gd name="T70" fmla="*/ 2147483646 w 2122"/>
                    <a:gd name="T71" fmla="*/ 2147483646 h 1291"/>
                    <a:gd name="T72" fmla="*/ 2147483646 w 2122"/>
                    <a:gd name="T73" fmla="*/ 2147483646 h 1291"/>
                    <a:gd name="T74" fmla="*/ 2147483646 w 2122"/>
                    <a:gd name="T75" fmla="*/ 2147483646 h 1291"/>
                    <a:gd name="T76" fmla="*/ 2147483646 w 2122"/>
                    <a:gd name="T77" fmla="*/ 2147483646 h 1291"/>
                    <a:gd name="T78" fmla="*/ 2147483646 w 2122"/>
                    <a:gd name="T79" fmla="*/ 2147483646 h 1291"/>
                    <a:gd name="T80" fmla="*/ 2147483646 w 2122"/>
                    <a:gd name="T81" fmla="*/ 2147483646 h 1291"/>
                    <a:gd name="T82" fmla="*/ 2147483646 w 2122"/>
                    <a:gd name="T83" fmla="*/ 2147483646 h 1291"/>
                    <a:gd name="T84" fmla="*/ 2147483646 w 2122"/>
                    <a:gd name="T85" fmla="*/ 2147483646 h 1291"/>
                    <a:gd name="T86" fmla="*/ 2147483646 w 2122"/>
                    <a:gd name="T87" fmla="*/ 2147483646 h 1291"/>
                    <a:gd name="T88" fmla="*/ 2147483646 w 2122"/>
                    <a:gd name="T89" fmla="*/ 2147483646 h 1291"/>
                    <a:gd name="T90" fmla="*/ 2147483646 w 2122"/>
                    <a:gd name="T91" fmla="*/ 2147483646 h 1291"/>
                    <a:gd name="T92" fmla="*/ 2147483646 w 2122"/>
                    <a:gd name="T93" fmla="*/ 2147483646 h 1291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2122" h="1291">
                      <a:moveTo>
                        <a:pt x="2100" y="479"/>
                      </a:moveTo>
                      <a:cubicBezTo>
                        <a:pt x="1318" y="479"/>
                        <a:pt x="1318" y="479"/>
                        <a:pt x="1318" y="479"/>
                      </a:cubicBezTo>
                      <a:cubicBezTo>
                        <a:pt x="1331" y="442"/>
                        <a:pt x="1338" y="403"/>
                        <a:pt x="1338" y="362"/>
                      </a:cubicBezTo>
                      <a:cubicBezTo>
                        <a:pt x="1338" y="162"/>
                        <a:pt x="1176" y="0"/>
                        <a:pt x="976" y="0"/>
                      </a:cubicBezTo>
                      <a:cubicBezTo>
                        <a:pt x="777" y="0"/>
                        <a:pt x="615" y="162"/>
                        <a:pt x="615" y="362"/>
                      </a:cubicBezTo>
                      <a:cubicBezTo>
                        <a:pt x="615" y="403"/>
                        <a:pt x="622" y="442"/>
                        <a:pt x="634" y="479"/>
                      </a:cubicBezTo>
                      <a:cubicBezTo>
                        <a:pt x="22" y="479"/>
                        <a:pt x="22" y="479"/>
                        <a:pt x="22" y="479"/>
                      </a:cubicBezTo>
                      <a:cubicBezTo>
                        <a:pt x="10" y="479"/>
                        <a:pt x="0" y="489"/>
                        <a:pt x="0" y="501"/>
                      </a:cubicBezTo>
                      <a:cubicBezTo>
                        <a:pt x="0" y="1269"/>
                        <a:pt x="0" y="1269"/>
                        <a:pt x="0" y="1269"/>
                      </a:cubicBezTo>
                      <a:cubicBezTo>
                        <a:pt x="0" y="1281"/>
                        <a:pt x="10" y="1291"/>
                        <a:pt x="22" y="1291"/>
                      </a:cubicBezTo>
                      <a:cubicBezTo>
                        <a:pt x="790" y="1291"/>
                        <a:pt x="790" y="1291"/>
                        <a:pt x="790" y="1291"/>
                      </a:cubicBezTo>
                      <a:cubicBezTo>
                        <a:pt x="802" y="1291"/>
                        <a:pt x="812" y="1281"/>
                        <a:pt x="812" y="1269"/>
                      </a:cubicBezTo>
                      <a:cubicBezTo>
                        <a:pt x="812" y="684"/>
                        <a:pt x="812" y="684"/>
                        <a:pt x="812" y="684"/>
                      </a:cubicBezTo>
                      <a:cubicBezTo>
                        <a:pt x="861" y="709"/>
                        <a:pt x="917" y="723"/>
                        <a:pt x="976" y="723"/>
                      </a:cubicBezTo>
                      <a:cubicBezTo>
                        <a:pt x="998" y="723"/>
                        <a:pt x="1019" y="721"/>
                        <a:pt x="1040" y="717"/>
                      </a:cubicBezTo>
                      <a:cubicBezTo>
                        <a:pt x="1040" y="1269"/>
                        <a:pt x="1040" y="1269"/>
                        <a:pt x="1040" y="1269"/>
                      </a:cubicBezTo>
                      <a:cubicBezTo>
                        <a:pt x="1040" y="1281"/>
                        <a:pt x="1050" y="1291"/>
                        <a:pt x="1062" y="1291"/>
                      </a:cubicBezTo>
                      <a:cubicBezTo>
                        <a:pt x="2100" y="1291"/>
                        <a:pt x="2100" y="1291"/>
                        <a:pt x="2100" y="1291"/>
                      </a:cubicBezTo>
                      <a:cubicBezTo>
                        <a:pt x="2112" y="1291"/>
                        <a:pt x="2122" y="1281"/>
                        <a:pt x="2122" y="1269"/>
                      </a:cubicBezTo>
                      <a:cubicBezTo>
                        <a:pt x="2122" y="501"/>
                        <a:pt x="2122" y="501"/>
                        <a:pt x="2122" y="501"/>
                      </a:cubicBezTo>
                      <a:cubicBezTo>
                        <a:pt x="2122" y="489"/>
                        <a:pt x="2112" y="479"/>
                        <a:pt x="2100" y="479"/>
                      </a:cubicBezTo>
                      <a:close/>
                      <a:moveTo>
                        <a:pt x="768" y="1247"/>
                      </a:moveTo>
                      <a:cubicBezTo>
                        <a:pt x="44" y="1247"/>
                        <a:pt x="44" y="1247"/>
                        <a:pt x="44" y="1247"/>
                      </a:cubicBezTo>
                      <a:cubicBezTo>
                        <a:pt x="44" y="523"/>
                        <a:pt x="44" y="523"/>
                        <a:pt x="44" y="523"/>
                      </a:cubicBezTo>
                      <a:cubicBezTo>
                        <a:pt x="653" y="523"/>
                        <a:pt x="653" y="523"/>
                        <a:pt x="653" y="523"/>
                      </a:cubicBezTo>
                      <a:cubicBezTo>
                        <a:pt x="680" y="577"/>
                        <a:pt x="719" y="623"/>
                        <a:pt x="768" y="657"/>
                      </a:cubicBezTo>
                      <a:lnTo>
                        <a:pt x="768" y="1247"/>
                      </a:lnTo>
                      <a:close/>
                      <a:moveTo>
                        <a:pt x="659" y="362"/>
                      </a:moveTo>
                      <a:cubicBezTo>
                        <a:pt x="659" y="186"/>
                        <a:pt x="801" y="44"/>
                        <a:pt x="976" y="44"/>
                      </a:cubicBezTo>
                      <a:cubicBezTo>
                        <a:pt x="1151" y="44"/>
                        <a:pt x="1294" y="186"/>
                        <a:pt x="1294" y="362"/>
                      </a:cubicBezTo>
                      <a:cubicBezTo>
                        <a:pt x="1294" y="537"/>
                        <a:pt x="1151" y="679"/>
                        <a:pt x="976" y="679"/>
                      </a:cubicBezTo>
                      <a:cubicBezTo>
                        <a:pt x="801" y="679"/>
                        <a:pt x="659" y="537"/>
                        <a:pt x="659" y="362"/>
                      </a:cubicBezTo>
                      <a:close/>
                      <a:moveTo>
                        <a:pt x="1299" y="523"/>
                      </a:moveTo>
                      <a:cubicBezTo>
                        <a:pt x="2078" y="523"/>
                        <a:pt x="2078" y="523"/>
                        <a:pt x="2078" y="523"/>
                      </a:cubicBezTo>
                      <a:cubicBezTo>
                        <a:pt x="2078" y="564"/>
                        <a:pt x="2078" y="564"/>
                        <a:pt x="2078" y="564"/>
                      </a:cubicBezTo>
                      <a:cubicBezTo>
                        <a:pt x="1965" y="656"/>
                        <a:pt x="1965" y="656"/>
                        <a:pt x="1965" y="656"/>
                      </a:cubicBezTo>
                      <a:cubicBezTo>
                        <a:pt x="1957" y="651"/>
                        <a:pt x="1947" y="648"/>
                        <a:pt x="1936" y="648"/>
                      </a:cubicBezTo>
                      <a:cubicBezTo>
                        <a:pt x="1903" y="648"/>
                        <a:pt x="1876" y="675"/>
                        <a:pt x="1876" y="708"/>
                      </a:cubicBezTo>
                      <a:cubicBezTo>
                        <a:pt x="1876" y="714"/>
                        <a:pt x="1877" y="720"/>
                        <a:pt x="1879" y="726"/>
                      </a:cubicBezTo>
                      <a:cubicBezTo>
                        <a:pt x="1738" y="839"/>
                        <a:pt x="1738" y="839"/>
                        <a:pt x="1738" y="839"/>
                      </a:cubicBezTo>
                      <a:cubicBezTo>
                        <a:pt x="1729" y="834"/>
                        <a:pt x="1719" y="831"/>
                        <a:pt x="1708" y="831"/>
                      </a:cubicBezTo>
                      <a:cubicBezTo>
                        <a:pt x="1692" y="831"/>
                        <a:pt x="1678" y="837"/>
                        <a:pt x="1667" y="847"/>
                      </a:cubicBezTo>
                      <a:cubicBezTo>
                        <a:pt x="1562" y="796"/>
                        <a:pt x="1562" y="796"/>
                        <a:pt x="1562" y="796"/>
                      </a:cubicBezTo>
                      <a:cubicBezTo>
                        <a:pt x="1563" y="795"/>
                        <a:pt x="1563" y="793"/>
                        <a:pt x="1563" y="792"/>
                      </a:cubicBezTo>
                      <a:cubicBezTo>
                        <a:pt x="1563" y="759"/>
                        <a:pt x="1536" y="732"/>
                        <a:pt x="1503" y="732"/>
                      </a:cubicBezTo>
                      <a:cubicBezTo>
                        <a:pt x="1470" y="732"/>
                        <a:pt x="1443" y="759"/>
                        <a:pt x="1443" y="792"/>
                      </a:cubicBezTo>
                      <a:cubicBezTo>
                        <a:pt x="1443" y="801"/>
                        <a:pt x="1445" y="810"/>
                        <a:pt x="1449" y="818"/>
                      </a:cubicBezTo>
                      <a:cubicBezTo>
                        <a:pt x="1354" y="922"/>
                        <a:pt x="1354" y="922"/>
                        <a:pt x="1354" y="922"/>
                      </a:cubicBezTo>
                      <a:cubicBezTo>
                        <a:pt x="1348" y="920"/>
                        <a:pt x="1341" y="918"/>
                        <a:pt x="1333" y="918"/>
                      </a:cubicBezTo>
                      <a:cubicBezTo>
                        <a:pt x="1300" y="918"/>
                        <a:pt x="1273" y="945"/>
                        <a:pt x="1273" y="978"/>
                      </a:cubicBezTo>
                      <a:cubicBezTo>
                        <a:pt x="1273" y="980"/>
                        <a:pt x="1273" y="981"/>
                        <a:pt x="1273" y="982"/>
                      </a:cubicBezTo>
                      <a:cubicBezTo>
                        <a:pt x="1084" y="1070"/>
                        <a:pt x="1084" y="1070"/>
                        <a:pt x="1084" y="1070"/>
                      </a:cubicBezTo>
                      <a:cubicBezTo>
                        <a:pt x="1084" y="707"/>
                        <a:pt x="1084" y="707"/>
                        <a:pt x="1084" y="707"/>
                      </a:cubicBezTo>
                      <a:cubicBezTo>
                        <a:pt x="1178" y="677"/>
                        <a:pt x="1256" y="610"/>
                        <a:pt x="1299" y="523"/>
                      </a:cubicBezTo>
                      <a:close/>
                      <a:moveTo>
                        <a:pt x="1968" y="708"/>
                      </a:moveTo>
                      <a:cubicBezTo>
                        <a:pt x="1968" y="726"/>
                        <a:pt x="1954" y="740"/>
                        <a:pt x="1936" y="740"/>
                      </a:cubicBezTo>
                      <a:cubicBezTo>
                        <a:pt x="1918" y="740"/>
                        <a:pt x="1904" y="726"/>
                        <a:pt x="1904" y="708"/>
                      </a:cubicBezTo>
                      <a:cubicBezTo>
                        <a:pt x="1904" y="691"/>
                        <a:pt x="1918" y="676"/>
                        <a:pt x="1936" y="676"/>
                      </a:cubicBezTo>
                      <a:cubicBezTo>
                        <a:pt x="1954" y="676"/>
                        <a:pt x="1968" y="691"/>
                        <a:pt x="1968" y="708"/>
                      </a:cubicBezTo>
                      <a:close/>
                      <a:moveTo>
                        <a:pt x="1740" y="891"/>
                      </a:moveTo>
                      <a:cubicBezTo>
                        <a:pt x="1740" y="908"/>
                        <a:pt x="1726" y="923"/>
                        <a:pt x="1708" y="923"/>
                      </a:cubicBezTo>
                      <a:cubicBezTo>
                        <a:pt x="1690" y="923"/>
                        <a:pt x="1676" y="908"/>
                        <a:pt x="1676" y="891"/>
                      </a:cubicBezTo>
                      <a:cubicBezTo>
                        <a:pt x="1676" y="873"/>
                        <a:pt x="1690" y="859"/>
                        <a:pt x="1708" y="859"/>
                      </a:cubicBezTo>
                      <a:cubicBezTo>
                        <a:pt x="1726" y="859"/>
                        <a:pt x="1740" y="873"/>
                        <a:pt x="1740" y="891"/>
                      </a:cubicBezTo>
                      <a:close/>
                      <a:moveTo>
                        <a:pt x="1535" y="792"/>
                      </a:moveTo>
                      <a:cubicBezTo>
                        <a:pt x="1535" y="809"/>
                        <a:pt x="1520" y="824"/>
                        <a:pt x="1503" y="824"/>
                      </a:cubicBezTo>
                      <a:cubicBezTo>
                        <a:pt x="1485" y="824"/>
                        <a:pt x="1471" y="809"/>
                        <a:pt x="1471" y="792"/>
                      </a:cubicBezTo>
                      <a:cubicBezTo>
                        <a:pt x="1471" y="774"/>
                        <a:pt x="1485" y="760"/>
                        <a:pt x="1503" y="760"/>
                      </a:cubicBezTo>
                      <a:cubicBezTo>
                        <a:pt x="1520" y="760"/>
                        <a:pt x="1535" y="774"/>
                        <a:pt x="1535" y="792"/>
                      </a:cubicBezTo>
                      <a:close/>
                      <a:moveTo>
                        <a:pt x="1365" y="978"/>
                      </a:moveTo>
                      <a:cubicBezTo>
                        <a:pt x="1365" y="996"/>
                        <a:pt x="1351" y="1010"/>
                        <a:pt x="1333" y="1010"/>
                      </a:cubicBezTo>
                      <a:cubicBezTo>
                        <a:pt x="1315" y="1010"/>
                        <a:pt x="1301" y="996"/>
                        <a:pt x="1301" y="978"/>
                      </a:cubicBezTo>
                      <a:cubicBezTo>
                        <a:pt x="1301" y="961"/>
                        <a:pt x="1315" y="946"/>
                        <a:pt x="1333" y="946"/>
                      </a:cubicBezTo>
                      <a:cubicBezTo>
                        <a:pt x="1351" y="946"/>
                        <a:pt x="1365" y="961"/>
                        <a:pt x="1365" y="978"/>
                      </a:cubicBezTo>
                      <a:close/>
                      <a:moveTo>
                        <a:pt x="1084" y="1247"/>
                      </a:moveTo>
                      <a:cubicBezTo>
                        <a:pt x="1084" y="1118"/>
                        <a:pt x="1084" y="1118"/>
                        <a:pt x="1084" y="1118"/>
                      </a:cubicBezTo>
                      <a:cubicBezTo>
                        <a:pt x="1292" y="1022"/>
                        <a:pt x="1292" y="1022"/>
                        <a:pt x="1292" y="1022"/>
                      </a:cubicBezTo>
                      <a:cubicBezTo>
                        <a:pt x="1302" y="1032"/>
                        <a:pt x="1317" y="1038"/>
                        <a:pt x="1333" y="1038"/>
                      </a:cubicBezTo>
                      <a:cubicBezTo>
                        <a:pt x="1366" y="1038"/>
                        <a:pt x="1393" y="1012"/>
                        <a:pt x="1393" y="978"/>
                      </a:cubicBezTo>
                      <a:cubicBezTo>
                        <a:pt x="1393" y="969"/>
                        <a:pt x="1391" y="960"/>
                        <a:pt x="1387" y="952"/>
                      </a:cubicBezTo>
                      <a:cubicBezTo>
                        <a:pt x="1481" y="848"/>
                        <a:pt x="1481" y="848"/>
                        <a:pt x="1481" y="848"/>
                      </a:cubicBezTo>
                      <a:cubicBezTo>
                        <a:pt x="1488" y="850"/>
                        <a:pt x="1495" y="852"/>
                        <a:pt x="1503" y="852"/>
                      </a:cubicBezTo>
                      <a:cubicBezTo>
                        <a:pt x="1518" y="852"/>
                        <a:pt x="1533" y="846"/>
                        <a:pt x="1543" y="836"/>
                      </a:cubicBezTo>
                      <a:cubicBezTo>
                        <a:pt x="1648" y="886"/>
                        <a:pt x="1648" y="886"/>
                        <a:pt x="1648" y="886"/>
                      </a:cubicBezTo>
                      <a:cubicBezTo>
                        <a:pt x="1648" y="888"/>
                        <a:pt x="1648" y="889"/>
                        <a:pt x="1648" y="891"/>
                      </a:cubicBezTo>
                      <a:cubicBezTo>
                        <a:pt x="1648" y="924"/>
                        <a:pt x="1675" y="951"/>
                        <a:pt x="1708" y="951"/>
                      </a:cubicBezTo>
                      <a:cubicBezTo>
                        <a:pt x="1741" y="951"/>
                        <a:pt x="1768" y="924"/>
                        <a:pt x="1768" y="891"/>
                      </a:cubicBezTo>
                      <a:cubicBezTo>
                        <a:pt x="1768" y="884"/>
                        <a:pt x="1767" y="879"/>
                        <a:pt x="1765" y="873"/>
                      </a:cubicBezTo>
                      <a:cubicBezTo>
                        <a:pt x="1906" y="760"/>
                        <a:pt x="1906" y="760"/>
                        <a:pt x="1906" y="760"/>
                      </a:cubicBezTo>
                      <a:cubicBezTo>
                        <a:pt x="1915" y="765"/>
                        <a:pt x="1925" y="768"/>
                        <a:pt x="1936" y="768"/>
                      </a:cubicBezTo>
                      <a:cubicBezTo>
                        <a:pt x="1969" y="768"/>
                        <a:pt x="1996" y="741"/>
                        <a:pt x="1996" y="708"/>
                      </a:cubicBezTo>
                      <a:cubicBezTo>
                        <a:pt x="1996" y="702"/>
                        <a:pt x="1995" y="696"/>
                        <a:pt x="1993" y="690"/>
                      </a:cubicBezTo>
                      <a:cubicBezTo>
                        <a:pt x="2078" y="621"/>
                        <a:pt x="2078" y="621"/>
                        <a:pt x="2078" y="621"/>
                      </a:cubicBezTo>
                      <a:cubicBezTo>
                        <a:pt x="2078" y="1247"/>
                        <a:pt x="2078" y="1247"/>
                        <a:pt x="2078" y="1247"/>
                      </a:cubicBezTo>
                      <a:lnTo>
                        <a:pt x="1084" y="1247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lIns="41148" tIns="20574" rIns="41148" bIns="20574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18459" name="bcgIcons_IncreasedVolatility"/>
          <p:cNvGrpSpPr>
            <a:grpSpLocks noChangeAspect="1"/>
          </p:cNvGrpSpPr>
          <p:nvPr/>
        </p:nvGrpSpPr>
        <p:grpSpPr bwMode="auto">
          <a:xfrm>
            <a:off x="7991475" y="3658791"/>
            <a:ext cx="514350" cy="514350"/>
            <a:chOff x="1682" y="0"/>
            <a:chExt cx="4316" cy="4320"/>
          </a:xfrm>
        </p:grpSpPr>
        <p:sp>
          <p:nvSpPr>
            <p:cNvPr id="18482" name="AutoShape 13"/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1148" tIns="20574" rIns="41148" bIns="20574"/>
            <a:lstStyle/>
            <a:p>
              <a:endParaRPr lang="en-US"/>
            </a:p>
          </p:txBody>
        </p:sp>
        <p:sp>
          <p:nvSpPr>
            <p:cNvPr id="58" name="Freeform 15"/>
            <p:cNvSpPr>
              <a:spLocks/>
            </p:cNvSpPr>
            <p:nvPr/>
          </p:nvSpPr>
          <p:spPr bwMode="auto">
            <a:xfrm>
              <a:off x="2291" y="1490"/>
              <a:ext cx="3107" cy="1730"/>
            </a:xfrm>
            <a:custGeom>
              <a:avLst/>
              <a:gdLst>
                <a:gd name="T0" fmla="*/ 1583 w 1658"/>
                <a:gd name="T1" fmla="*/ 61 h 925"/>
                <a:gd name="T2" fmla="*/ 1586 w 1658"/>
                <a:gd name="T3" fmla="*/ 92 h 925"/>
                <a:gd name="T4" fmla="*/ 1441 w 1658"/>
                <a:gd name="T5" fmla="*/ 237 h 925"/>
                <a:gd name="T6" fmla="*/ 1381 w 1658"/>
                <a:gd name="T7" fmla="*/ 224 h 925"/>
                <a:gd name="T8" fmla="*/ 1190 w 1658"/>
                <a:gd name="T9" fmla="*/ 377 h 925"/>
                <a:gd name="T10" fmla="*/ 1193 w 1658"/>
                <a:gd name="T11" fmla="*/ 406 h 925"/>
                <a:gd name="T12" fmla="*/ 1048 w 1658"/>
                <a:gd name="T13" fmla="*/ 551 h 925"/>
                <a:gd name="T14" fmla="*/ 902 w 1658"/>
                <a:gd name="T15" fmla="*/ 409 h 925"/>
                <a:gd name="T16" fmla="*/ 782 w 1658"/>
                <a:gd name="T17" fmla="*/ 351 h 925"/>
                <a:gd name="T18" fmla="*/ 694 w 1658"/>
                <a:gd name="T19" fmla="*/ 381 h 925"/>
                <a:gd name="T20" fmla="*/ 656 w 1658"/>
                <a:gd name="T21" fmla="*/ 376 h 925"/>
                <a:gd name="T22" fmla="*/ 537 w 1658"/>
                <a:gd name="T23" fmla="*/ 506 h 925"/>
                <a:gd name="T24" fmla="*/ 547 w 1658"/>
                <a:gd name="T25" fmla="*/ 557 h 925"/>
                <a:gd name="T26" fmla="*/ 402 w 1658"/>
                <a:gd name="T27" fmla="*/ 703 h 925"/>
                <a:gd name="T28" fmla="*/ 312 w 1658"/>
                <a:gd name="T29" fmla="*/ 672 h 925"/>
                <a:gd name="T30" fmla="*/ 0 w 1658"/>
                <a:gd name="T31" fmla="*/ 816 h 925"/>
                <a:gd name="T32" fmla="*/ 0 w 1658"/>
                <a:gd name="T33" fmla="*/ 915 h 925"/>
                <a:gd name="T34" fmla="*/ 10 w 1658"/>
                <a:gd name="T35" fmla="*/ 925 h 925"/>
                <a:gd name="T36" fmla="*/ 1648 w 1658"/>
                <a:gd name="T37" fmla="*/ 925 h 925"/>
                <a:gd name="T38" fmla="*/ 1658 w 1658"/>
                <a:gd name="T39" fmla="*/ 915 h 925"/>
                <a:gd name="T40" fmla="*/ 1658 w 1658"/>
                <a:gd name="T41" fmla="*/ 0 h 925"/>
                <a:gd name="T42" fmla="*/ 1583 w 1658"/>
                <a:gd name="T43" fmla="*/ 61 h 9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58" h="925">
                  <a:moveTo>
                    <a:pt x="1583" y="61"/>
                  </a:moveTo>
                  <a:cubicBezTo>
                    <a:pt x="1585" y="71"/>
                    <a:pt x="1586" y="81"/>
                    <a:pt x="1586" y="92"/>
                  </a:cubicBezTo>
                  <a:cubicBezTo>
                    <a:pt x="1586" y="172"/>
                    <a:pt x="1521" y="237"/>
                    <a:pt x="1441" y="237"/>
                  </a:cubicBezTo>
                  <a:cubicBezTo>
                    <a:pt x="1419" y="237"/>
                    <a:pt x="1399" y="232"/>
                    <a:pt x="1381" y="224"/>
                  </a:cubicBezTo>
                  <a:cubicBezTo>
                    <a:pt x="1190" y="377"/>
                    <a:pt x="1190" y="377"/>
                    <a:pt x="1190" y="377"/>
                  </a:cubicBezTo>
                  <a:cubicBezTo>
                    <a:pt x="1192" y="386"/>
                    <a:pt x="1193" y="396"/>
                    <a:pt x="1193" y="406"/>
                  </a:cubicBezTo>
                  <a:cubicBezTo>
                    <a:pt x="1193" y="486"/>
                    <a:pt x="1128" y="551"/>
                    <a:pt x="1048" y="551"/>
                  </a:cubicBezTo>
                  <a:cubicBezTo>
                    <a:pt x="969" y="551"/>
                    <a:pt x="904" y="488"/>
                    <a:pt x="902" y="409"/>
                  </a:cubicBezTo>
                  <a:cubicBezTo>
                    <a:pt x="782" y="351"/>
                    <a:pt x="782" y="351"/>
                    <a:pt x="782" y="351"/>
                  </a:cubicBezTo>
                  <a:cubicBezTo>
                    <a:pt x="757" y="370"/>
                    <a:pt x="727" y="381"/>
                    <a:pt x="694" y="381"/>
                  </a:cubicBezTo>
                  <a:cubicBezTo>
                    <a:pt x="681" y="381"/>
                    <a:pt x="668" y="379"/>
                    <a:pt x="656" y="376"/>
                  </a:cubicBezTo>
                  <a:cubicBezTo>
                    <a:pt x="537" y="506"/>
                    <a:pt x="537" y="506"/>
                    <a:pt x="537" y="506"/>
                  </a:cubicBezTo>
                  <a:cubicBezTo>
                    <a:pt x="543" y="522"/>
                    <a:pt x="547" y="539"/>
                    <a:pt x="547" y="557"/>
                  </a:cubicBezTo>
                  <a:cubicBezTo>
                    <a:pt x="547" y="638"/>
                    <a:pt x="482" y="703"/>
                    <a:pt x="402" y="703"/>
                  </a:cubicBezTo>
                  <a:cubicBezTo>
                    <a:pt x="368" y="703"/>
                    <a:pt x="337" y="691"/>
                    <a:pt x="312" y="672"/>
                  </a:cubicBezTo>
                  <a:cubicBezTo>
                    <a:pt x="0" y="816"/>
                    <a:pt x="0" y="816"/>
                    <a:pt x="0" y="816"/>
                  </a:cubicBezTo>
                  <a:cubicBezTo>
                    <a:pt x="0" y="915"/>
                    <a:pt x="0" y="915"/>
                    <a:pt x="0" y="915"/>
                  </a:cubicBezTo>
                  <a:cubicBezTo>
                    <a:pt x="0" y="921"/>
                    <a:pt x="5" y="925"/>
                    <a:pt x="10" y="925"/>
                  </a:cubicBezTo>
                  <a:cubicBezTo>
                    <a:pt x="1648" y="925"/>
                    <a:pt x="1648" y="925"/>
                    <a:pt x="1648" y="925"/>
                  </a:cubicBezTo>
                  <a:cubicBezTo>
                    <a:pt x="1653" y="925"/>
                    <a:pt x="1658" y="921"/>
                    <a:pt x="1658" y="915"/>
                  </a:cubicBezTo>
                  <a:cubicBezTo>
                    <a:pt x="1658" y="0"/>
                    <a:pt x="1658" y="0"/>
                    <a:pt x="1658" y="0"/>
                  </a:cubicBezTo>
                  <a:lnTo>
                    <a:pt x="1583" y="6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lIns="41148" tIns="20574" rIns="41148" bIns="20574"/>
            <a:lstStyle/>
            <a:p>
              <a:pPr>
                <a:defRPr/>
              </a:pPr>
              <a:endParaRPr lang="en-GB" dirty="0">
                <a:latin typeface="Gill Sans MT" panose="020B0502020104020203" pitchFamily="34" charset="0"/>
              </a:endParaRPr>
            </a:p>
          </p:txBody>
        </p:sp>
        <p:sp>
          <p:nvSpPr>
            <p:cNvPr id="59" name="Freeform 16"/>
            <p:cNvSpPr>
              <a:spLocks noEditPoints="1"/>
            </p:cNvSpPr>
            <p:nvPr/>
          </p:nvSpPr>
          <p:spPr bwMode="auto">
            <a:xfrm>
              <a:off x="2122" y="930"/>
              <a:ext cx="3437" cy="2450"/>
            </a:xfrm>
            <a:custGeom>
              <a:avLst/>
              <a:gdLst>
                <a:gd name="T0" fmla="*/ 44 w 1834"/>
                <a:gd name="T1" fmla="*/ 0 h 1308"/>
                <a:gd name="T2" fmla="*/ 0 w 1834"/>
                <a:gd name="T3" fmla="*/ 1264 h 1308"/>
                <a:gd name="T4" fmla="*/ 1790 w 1834"/>
                <a:gd name="T5" fmla="*/ 1308 h 1308"/>
                <a:gd name="T6" fmla="*/ 1834 w 1834"/>
                <a:gd name="T7" fmla="*/ 44 h 1308"/>
                <a:gd name="T8" fmla="*/ 1790 w 1834"/>
                <a:gd name="T9" fmla="*/ 1264 h 1308"/>
                <a:gd name="T10" fmla="*/ 44 w 1834"/>
                <a:gd name="T11" fmla="*/ 1083 h 1308"/>
                <a:gd name="T12" fmla="*/ 490 w 1834"/>
                <a:gd name="T13" fmla="*/ 954 h 1308"/>
                <a:gd name="T14" fmla="*/ 572 w 1834"/>
                <a:gd name="T15" fmla="*/ 794 h 1308"/>
                <a:gd name="T16" fmla="*/ 782 w 1834"/>
                <a:gd name="T17" fmla="*/ 632 h 1308"/>
                <a:gd name="T18" fmla="*/ 1037 w 1834"/>
                <a:gd name="T19" fmla="*/ 678 h 1308"/>
                <a:gd name="T20" fmla="*/ 1136 w 1834"/>
                <a:gd name="T21" fmla="*/ 802 h 1308"/>
                <a:gd name="T22" fmla="*/ 1227 w 1834"/>
                <a:gd name="T23" fmla="*/ 657 h 1308"/>
                <a:gd name="T24" fmla="*/ 1529 w 1834"/>
                <a:gd name="T25" fmla="*/ 488 h 1308"/>
                <a:gd name="T26" fmla="*/ 1619 w 1834"/>
                <a:gd name="T27" fmla="*/ 341 h 1308"/>
                <a:gd name="T28" fmla="*/ 1790 w 1834"/>
                <a:gd name="T29" fmla="*/ 1264 h 1308"/>
                <a:gd name="T30" fmla="*/ 490 w 1834"/>
                <a:gd name="T31" fmla="*/ 910 h 1308"/>
                <a:gd name="T32" fmla="*/ 490 w 1834"/>
                <a:gd name="T33" fmla="*/ 795 h 1308"/>
                <a:gd name="T34" fmla="*/ 725 w 1834"/>
                <a:gd name="T35" fmla="*/ 530 h 1308"/>
                <a:gd name="T36" fmla="*/ 839 w 1834"/>
                <a:gd name="T37" fmla="*/ 530 h 1308"/>
                <a:gd name="T38" fmla="*/ 725 w 1834"/>
                <a:gd name="T39" fmla="*/ 530 h 1308"/>
                <a:gd name="T40" fmla="*/ 1136 w 1834"/>
                <a:gd name="T41" fmla="*/ 758 h 1308"/>
                <a:gd name="T42" fmla="*/ 1136 w 1834"/>
                <a:gd name="T43" fmla="*/ 644 h 1308"/>
                <a:gd name="T44" fmla="*/ 1586 w 1834"/>
                <a:gd name="T45" fmla="*/ 387 h 1308"/>
                <a:gd name="T46" fmla="*/ 1471 w 1834"/>
                <a:gd name="T47" fmla="*/ 387 h 1308"/>
                <a:gd name="T48" fmla="*/ 1586 w 1834"/>
                <a:gd name="T49" fmla="*/ 387 h 1308"/>
                <a:gd name="T50" fmla="*/ 1591 w 1834"/>
                <a:gd name="T51" fmla="*/ 307 h 1308"/>
                <a:gd name="T52" fmla="*/ 1427 w 1834"/>
                <a:gd name="T53" fmla="*/ 387 h 1308"/>
                <a:gd name="T54" fmla="*/ 1199 w 1834"/>
                <a:gd name="T55" fmla="*/ 622 h 1308"/>
                <a:gd name="T56" fmla="*/ 1056 w 1834"/>
                <a:gd name="T57" fmla="*/ 638 h 1308"/>
                <a:gd name="T58" fmla="*/ 883 w 1834"/>
                <a:gd name="T59" fmla="*/ 530 h 1308"/>
                <a:gd name="T60" fmla="*/ 681 w 1834"/>
                <a:gd name="T61" fmla="*/ 530 h 1308"/>
                <a:gd name="T62" fmla="*/ 540 w 1834"/>
                <a:gd name="T63" fmla="*/ 764 h 1308"/>
                <a:gd name="T64" fmla="*/ 388 w 1834"/>
                <a:gd name="T65" fmla="*/ 852 h 1308"/>
                <a:gd name="T66" fmla="*/ 44 w 1834"/>
                <a:gd name="T67" fmla="*/ 1034 h 1308"/>
                <a:gd name="T68" fmla="*/ 1790 w 1834"/>
                <a:gd name="T69" fmla="*/ 44 h 1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34" h="1308">
                  <a:moveTo>
                    <a:pt x="1790" y="0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0" y="0"/>
                    <a:pt x="0" y="20"/>
                    <a:pt x="0" y="44"/>
                  </a:cubicBezTo>
                  <a:cubicBezTo>
                    <a:pt x="0" y="1264"/>
                    <a:pt x="0" y="1264"/>
                    <a:pt x="0" y="1264"/>
                  </a:cubicBezTo>
                  <a:cubicBezTo>
                    <a:pt x="0" y="1288"/>
                    <a:pt x="20" y="1308"/>
                    <a:pt x="44" y="1308"/>
                  </a:cubicBezTo>
                  <a:cubicBezTo>
                    <a:pt x="1790" y="1308"/>
                    <a:pt x="1790" y="1308"/>
                    <a:pt x="1790" y="1308"/>
                  </a:cubicBezTo>
                  <a:cubicBezTo>
                    <a:pt x="1814" y="1308"/>
                    <a:pt x="1834" y="1288"/>
                    <a:pt x="1834" y="1264"/>
                  </a:cubicBezTo>
                  <a:cubicBezTo>
                    <a:pt x="1834" y="44"/>
                    <a:pt x="1834" y="44"/>
                    <a:pt x="1834" y="44"/>
                  </a:cubicBezTo>
                  <a:cubicBezTo>
                    <a:pt x="1834" y="20"/>
                    <a:pt x="1814" y="0"/>
                    <a:pt x="1790" y="0"/>
                  </a:cubicBezTo>
                  <a:close/>
                  <a:moveTo>
                    <a:pt x="1790" y="1264"/>
                  </a:moveTo>
                  <a:cubicBezTo>
                    <a:pt x="44" y="1264"/>
                    <a:pt x="44" y="1264"/>
                    <a:pt x="44" y="1264"/>
                  </a:cubicBezTo>
                  <a:cubicBezTo>
                    <a:pt x="44" y="1083"/>
                    <a:pt x="44" y="1083"/>
                    <a:pt x="44" y="1083"/>
                  </a:cubicBezTo>
                  <a:cubicBezTo>
                    <a:pt x="409" y="914"/>
                    <a:pt x="409" y="914"/>
                    <a:pt x="409" y="914"/>
                  </a:cubicBezTo>
                  <a:cubicBezTo>
                    <a:pt x="428" y="938"/>
                    <a:pt x="457" y="954"/>
                    <a:pt x="490" y="954"/>
                  </a:cubicBezTo>
                  <a:cubicBezTo>
                    <a:pt x="545" y="954"/>
                    <a:pt x="591" y="908"/>
                    <a:pt x="591" y="852"/>
                  </a:cubicBezTo>
                  <a:cubicBezTo>
                    <a:pt x="591" y="831"/>
                    <a:pt x="584" y="811"/>
                    <a:pt x="572" y="794"/>
                  </a:cubicBezTo>
                  <a:cubicBezTo>
                    <a:pt x="732" y="618"/>
                    <a:pt x="732" y="618"/>
                    <a:pt x="732" y="618"/>
                  </a:cubicBezTo>
                  <a:cubicBezTo>
                    <a:pt x="747" y="627"/>
                    <a:pt x="764" y="632"/>
                    <a:pt x="782" y="632"/>
                  </a:cubicBezTo>
                  <a:cubicBezTo>
                    <a:pt x="814" y="632"/>
                    <a:pt x="843" y="617"/>
                    <a:pt x="861" y="593"/>
                  </a:cubicBezTo>
                  <a:cubicBezTo>
                    <a:pt x="1037" y="678"/>
                    <a:pt x="1037" y="678"/>
                    <a:pt x="1037" y="678"/>
                  </a:cubicBezTo>
                  <a:cubicBezTo>
                    <a:pt x="1035" y="685"/>
                    <a:pt x="1034" y="693"/>
                    <a:pt x="1034" y="701"/>
                  </a:cubicBezTo>
                  <a:cubicBezTo>
                    <a:pt x="1034" y="757"/>
                    <a:pt x="1080" y="802"/>
                    <a:pt x="1136" y="802"/>
                  </a:cubicBezTo>
                  <a:cubicBezTo>
                    <a:pt x="1191" y="802"/>
                    <a:pt x="1237" y="757"/>
                    <a:pt x="1237" y="701"/>
                  </a:cubicBezTo>
                  <a:cubicBezTo>
                    <a:pt x="1237" y="685"/>
                    <a:pt x="1233" y="670"/>
                    <a:pt x="1227" y="657"/>
                  </a:cubicBezTo>
                  <a:cubicBezTo>
                    <a:pt x="1465" y="466"/>
                    <a:pt x="1465" y="466"/>
                    <a:pt x="1465" y="466"/>
                  </a:cubicBezTo>
                  <a:cubicBezTo>
                    <a:pt x="1483" y="480"/>
                    <a:pt x="1505" y="488"/>
                    <a:pt x="1529" y="488"/>
                  </a:cubicBezTo>
                  <a:cubicBezTo>
                    <a:pt x="1585" y="488"/>
                    <a:pt x="1630" y="443"/>
                    <a:pt x="1630" y="387"/>
                  </a:cubicBezTo>
                  <a:cubicBezTo>
                    <a:pt x="1630" y="370"/>
                    <a:pt x="1626" y="355"/>
                    <a:pt x="1619" y="341"/>
                  </a:cubicBezTo>
                  <a:cubicBezTo>
                    <a:pt x="1790" y="203"/>
                    <a:pt x="1790" y="203"/>
                    <a:pt x="1790" y="203"/>
                  </a:cubicBezTo>
                  <a:lnTo>
                    <a:pt x="1790" y="1264"/>
                  </a:lnTo>
                  <a:close/>
                  <a:moveTo>
                    <a:pt x="547" y="852"/>
                  </a:moveTo>
                  <a:cubicBezTo>
                    <a:pt x="547" y="884"/>
                    <a:pt x="521" y="910"/>
                    <a:pt x="490" y="910"/>
                  </a:cubicBezTo>
                  <a:cubicBezTo>
                    <a:pt x="458" y="910"/>
                    <a:pt x="432" y="884"/>
                    <a:pt x="432" y="852"/>
                  </a:cubicBezTo>
                  <a:cubicBezTo>
                    <a:pt x="432" y="821"/>
                    <a:pt x="458" y="795"/>
                    <a:pt x="490" y="795"/>
                  </a:cubicBezTo>
                  <a:cubicBezTo>
                    <a:pt x="521" y="795"/>
                    <a:pt x="547" y="821"/>
                    <a:pt x="547" y="852"/>
                  </a:cubicBezTo>
                  <a:close/>
                  <a:moveTo>
                    <a:pt x="725" y="530"/>
                  </a:moveTo>
                  <a:cubicBezTo>
                    <a:pt x="725" y="499"/>
                    <a:pt x="750" y="473"/>
                    <a:pt x="782" y="473"/>
                  </a:cubicBezTo>
                  <a:cubicBezTo>
                    <a:pt x="813" y="473"/>
                    <a:pt x="839" y="499"/>
                    <a:pt x="839" y="530"/>
                  </a:cubicBezTo>
                  <a:cubicBezTo>
                    <a:pt x="839" y="562"/>
                    <a:pt x="813" y="588"/>
                    <a:pt x="782" y="588"/>
                  </a:cubicBezTo>
                  <a:cubicBezTo>
                    <a:pt x="750" y="588"/>
                    <a:pt x="725" y="562"/>
                    <a:pt x="725" y="530"/>
                  </a:cubicBezTo>
                  <a:close/>
                  <a:moveTo>
                    <a:pt x="1193" y="701"/>
                  </a:moveTo>
                  <a:cubicBezTo>
                    <a:pt x="1193" y="733"/>
                    <a:pt x="1167" y="758"/>
                    <a:pt x="1136" y="758"/>
                  </a:cubicBezTo>
                  <a:cubicBezTo>
                    <a:pt x="1104" y="758"/>
                    <a:pt x="1078" y="733"/>
                    <a:pt x="1078" y="701"/>
                  </a:cubicBezTo>
                  <a:cubicBezTo>
                    <a:pt x="1078" y="670"/>
                    <a:pt x="1104" y="644"/>
                    <a:pt x="1136" y="644"/>
                  </a:cubicBezTo>
                  <a:cubicBezTo>
                    <a:pt x="1167" y="644"/>
                    <a:pt x="1193" y="670"/>
                    <a:pt x="1193" y="701"/>
                  </a:cubicBezTo>
                  <a:close/>
                  <a:moveTo>
                    <a:pt x="1586" y="387"/>
                  </a:moveTo>
                  <a:cubicBezTo>
                    <a:pt x="1586" y="418"/>
                    <a:pt x="1560" y="444"/>
                    <a:pt x="1529" y="444"/>
                  </a:cubicBezTo>
                  <a:cubicBezTo>
                    <a:pt x="1497" y="444"/>
                    <a:pt x="1471" y="418"/>
                    <a:pt x="1471" y="387"/>
                  </a:cubicBezTo>
                  <a:cubicBezTo>
                    <a:pt x="1471" y="355"/>
                    <a:pt x="1497" y="330"/>
                    <a:pt x="1529" y="330"/>
                  </a:cubicBezTo>
                  <a:cubicBezTo>
                    <a:pt x="1560" y="330"/>
                    <a:pt x="1586" y="355"/>
                    <a:pt x="1586" y="387"/>
                  </a:cubicBezTo>
                  <a:close/>
                  <a:moveTo>
                    <a:pt x="1790" y="146"/>
                  </a:moveTo>
                  <a:cubicBezTo>
                    <a:pt x="1591" y="307"/>
                    <a:pt x="1591" y="307"/>
                    <a:pt x="1591" y="307"/>
                  </a:cubicBezTo>
                  <a:cubicBezTo>
                    <a:pt x="1574" y="294"/>
                    <a:pt x="1552" y="286"/>
                    <a:pt x="1529" y="286"/>
                  </a:cubicBezTo>
                  <a:cubicBezTo>
                    <a:pt x="1473" y="286"/>
                    <a:pt x="1427" y="331"/>
                    <a:pt x="1427" y="387"/>
                  </a:cubicBezTo>
                  <a:cubicBezTo>
                    <a:pt x="1427" y="403"/>
                    <a:pt x="1431" y="418"/>
                    <a:pt x="1438" y="431"/>
                  </a:cubicBezTo>
                  <a:cubicBezTo>
                    <a:pt x="1199" y="622"/>
                    <a:pt x="1199" y="622"/>
                    <a:pt x="1199" y="622"/>
                  </a:cubicBezTo>
                  <a:cubicBezTo>
                    <a:pt x="1182" y="608"/>
                    <a:pt x="1160" y="600"/>
                    <a:pt x="1136" y="600"/>
                  </a:cubicBezTo>
                  <a:cubicBezTo>
                    <a:pt x="1103" y="600"/>
                    <a:pt x="1075" y="615"/>
                    <a:pt x="1056" y="638"/>
                  </a:cubicBezTo>
                  <a:cubicBezTo>
                    <a:pt x="880" y="554"/>
                    <a:pt x="880" y="554"/>
                    <a:pt x="880" y="554"/>
                  </a:cubicBezTo>
                  <a:cubicBezTo>
                    <a:pt x="882" y="546"/>
                    <a:pt x="883" y="538"/>
                    <a:pt x="883" y="530"/>
                  </a:cubicBezTo>
                  <a:cubicBezTo>
                    <a:pt x="883" y="475"/>
                    <a:pt x="838" y="429"/>
                    <a:pt x="782" y="429"/>
                  </a:cubicBezTo>
                  <a:cubicBezTo>
                    <a:pt x="726" y="429"/>
                    <a:pt x="681" y="475"/>
                    <a:pt x="681" y="530"/>
                  </a:cubicBezTo>
                  <a:cubicBezTo>
                    <a:pt x="681" y="552"/>
                    <a:pt x="688" y="572"/>
                    <a:pt x="699" y="589"/>
                  </a:cubicBezTo>
                  <a:cubicBezTo>
                    <a:pt x="540" y="764"/>
                    <a:pt x="540" y="764"/>
                    <a:pt x="540" y="764"/>
                  </a:cubicBezTo>
                  <a:cubicBezTo>
                    <a:pt x="525" y="756"/>
                    <a:pt x="508" y="751"/>
                    <a:pt x="490" y="751"/>
                  </a:cubicBezTo>
                  <a:cubicBezTo>
                    <a:pt x="434" y="751"/>
                    <a:pt x="388" y="797"/>
                    <a:pt x="388" y="852"/>
                  </a:cubicBezTo>
                  <a:cubicBezTo>
                    <a:pt x="388" y="860"/>
                    <a:pt x="389" y="867"/>
                    <a:pt x="391" y="874"/>
                  </a:cubicBezTo>
                  <a:cubicBezTo>
                    <a:pt x="44" y="1034"/>
                    <a:pt x="44" y="1034"/>
                    <a:pt x="44" y="1034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1790" y="44"/>
                    <a:pt x="1790" y="44"/>
                    <a:pt x="1790" y="44"/>
                  </a:cubicBezTo>
                  <a:lnTo>
                    <a:pt x="1790" y="14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lIns="41148" tIns="20574" rIns="41148" bIns="20574"/>
            <a:lstStyle/>
            <a:p>
              <a:pPr>
                <a:defRPr/>
              </a:pPr>
              <a:endParaRPr lang="en-GB" dirty="0">
                <a:solidFill>
                  <a:schemeClr val="accent4">
                    <a:lumMod val="60000"/>
                    <a:lumOff val="40000"/>
                  </a:schemeClr>
                </a:solidFill>
                <a:latin typeface="Gill Sans MT" panose="020B0502020104020203" pitchFamily="34" charset="0"/>
              </a:endParaRPr>
            </a:p>
          </p:txBody>
        </p:sp>
      </p:grpSp>
      <p:grpSp>
        <p:nvGrpSpPr>
          <p:cNvPr id="18460" name="Group 59"/>
          <p:cNvGrpSpPr>
            <a:grpSpLocks/>
          </p:cNvGrpSpPr>
          <p:nvPr/>
        </p:nvGrpSpPr>
        <p:grpSpPr bwMode="auto">
          <a:xfrm>
            <a:off x="7972425" y="4675585"/>
            <a:ext cx="514350" cy="514350"/>
            <a:chOff x="5273802" y="2606040"/>
            <a:chExt cx="1644396" cy="1645920"/>
          </a:xfrm>
        </p:grpSpPr>
        <p:sp>
          <p:nvSpPr>
            <p:cNvPr id="18472" name="AutoShape 137"/>
            <p:cNvSpPr>
              <a:spLocks noChangeAspect="1" noChangeArrowheads="1" noTextEdit="1"/>
            </p:cNvSpPr>
            <p:nvPr/>
          </p:nvSpPr>
          <p:spPr bwMode="auto">
            <a:xfrm>
              <a:off x="5273802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1148" tIns="20574" rIns="41148" bIns="20574"/>
            <a:lstStyle/>
            <a:p>
              <a:endParaRPr lang="en-US"/>
            </a:p>
          </p:txBody>
        </p:sp>
        <p:grpSp>
          <p:nvGrpSpPr>
            <p:cNvPr id="18473" name="Group 61"/>
            <p:cNvGrpSpPr>
              <a:grpSpLocks/>
            </p:cNvGrpSpPr>
            <p:nvPr/>
          </p:nvGrpSpPr>
          <p:grpSpPr bwMode="auto">
            <a:xfrm>
              <a:off x="5542026" y="2758059"/>
              <a:ext cx="1106424" cy="1305306"/>
              <a:chOff x="5542026" y="2758059"/>
              <a:chExt cx="1106424" cy="1305306"/>
            </a:xfrm>
          </p:grpSpPr>
          <p:sp>
            <p:nvSpPr>
              <p:cNvPr id="18474" name="Freeform 139"/>
              <p:cNvSpPr>
                <a:spLocks/>
              </p:cNvSpPr>
              <p:nvPr/>
            </p:nvSpPr>
            <p:spPr bwMode="auto">
              <a:xfrm>
                <a:off x="5970270" y="2758059"/>
                <a:ext cx="249936" cy="250317"/>
              </a:xfrm>
              <a:custGeom>
                <a:avLst/>
                <a:gdLst>
                  <a:gd name="T0" fmla="*/ 2147483646 w 656"/>
                  <a:gd name="T1" fmla="*/ 0 h 657"/>
                  <a:gd name="T2" fmla="*/ 2147483646 w 656"/>
                  <a:gd name="T3" fmla="*/ 2147483646 h 657"/>
                  <a:gd name="T4" fmla="*/ 2147483646 w 656"/>
                  <a:gd name="T5" fmla="*/ 2147483646 h 657"/>
                  <a:gd name="T6" fmla="*/ 2147483646 w 656"/>
                  <a:gd name="T7" fmla="*/ 2147483646 h 657"/>
                  <a:gd name="T8" fmla="*/ 2147483646 w 656"/>
                  <a:gd name="T9" fmla="*/ 2147483646 h 657"/>
                  <a:gd name="T10" fmla="*/ 2147483646 w 656"/>
                  <a:gd name="T11" fmla="*/ 2147483646 h 657"/>
                  <a:gd name="T12" fmla="*/ 2147483646 w 656"/>
                  <a:gd name="T13" fmla="*/ 2147483646 h 657"/>
                  <a:gd name="T14" fmla="*/ 2147483646 w 656"/>
                  <a:gd name="T15" fmla="*/ 2147483646 h 657"/>
                  <a:gd name="T16" fmla="*/ 0 w 656"/>
                  <a:gd name="T17" fmla="*/ 2147483646 h 657"/>
                  <a:gd name="T18" fmla="*/ 2147483646 w 656"/>
                  <a:gd name="T19" fmla="*/ 2147483646 h 657"/>
                  <a:gd name="T20" fmla="*/ 2147483646 w 656"/>
                  <a:gd name="T21" fmla="*/ 0 h 657"/>
                  <a:gd name="T22" fmla="*/ 2147483646 w 656"/>
                  <a:gd name="T23" fmla="*/ 0 h 657"/>
                  <a:gd name="T24" fmla="*/ 2147483646 w 656"/>
                  <a:gd name="T25" fmla="*/ 0 h 657"/>
                  <a:gd name="T26" fmla="*/ 2147483646 w 656"/>
                  <a:gd name="T27" fmla="*/ 0 h 657"/>
                  <a:gd name="T28" fmla="*/ 2147483646 w 656"/>
                  <a:gd name="T29" fmla="*/ 0 h 65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656" h="657">
                    <a:moveTo>
                      <a:pt x="326" y="0"/>
                    </a:moveTo>
                    <a:lnTo>
                      <a:pt x="429" y="220"/>
                    </a:lnTo>
                    <a:lnTo>
                      <a:pt x="656" y="255"/>
                    </a:lnTo>
                    <a:lnTo>
                      <a:pt x="493" y="417"/>
                    </a:lnTo>
                    <a:lnTo>
                      <a:pt x="534" y="657"/>
                    </a:lnTo>
                    <a:lnTo>
                      <a:pt x="326" y="540"/>
                    </a:lnTo>
                    <a:lnTo>
                      <a:pt x="126" y="657"/>
                    </a:lnTo>
                    <a:lnTo>
                      <a:pt x="163" y="417"/>
                    </a:lnTo>
                    <a:lnTo>
                      <a:pt x="0" y="255"/>
                    </a:lnTo>
                    <a:lnTo>
                      <a:pt x="227" y="220"/>
                    </a:lnTo>
                    <a:lnTo>
                      <a:pt x="326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41148" tIns="20574" rIns="41148" bIns="20574"/>
              <a:lstStyle/>
              <a:p>
                <a:endParaRPr lang="en-US"/>
              </a:p>
            </p:txBody>
          </p:sp>
          <p:sp>
            <p:nvSpPr>
              <p:cNvPr id="18475" name="Freeform 140"/>
              <p:cNvSpPr>
                <a:spLocks/>
              </p:cNvSpPr>
              <p:nvPr/>
            </p:nvSpPr>
            <p:spPr bwMode="auto">
              <a:xfrm>
                <a:off x="5684901" y="2883408"/>
                <a:ext cx="196215" cy="187833"/>
              </a:xfrm>
              <a:custGeom>
                <a:avLst/>
                <a:gdLst>
                  <a:gd name="T0" fmla="*/ 2147483646 w 515"/>
                  <a:gd name="T1" fmla="*/ 0 h 493"/>
                  <a:gd name="T2" fmla="*/ 2147483646 w 515"/>
                  <a:gd name="T3" fmla="*/ 2147483646 h 493"/>
                  <a:gd name="T4" fmla="*/ 2147483646 w 515"/>
                  <a:gd name="T5" fmla="*/ 2147483646 h 493"/>
                  <a:gd name="T6" fmla="*/ 2147483646 w 515"/>
                  <a:gd name="T7" fmla="*/ 2147483646 h 493"/>
                  <a:gd name="T8" fmla="*/ 2147483646 w 515"/>
                  <a:gd name="T9" fmla="*/ 2147483646 h 493"/>
                  <a:gd name="T10" fmla="*/ 2147483646 w 515"/>
                  <a:gd name="T11" fmla="*/ 2147483646 h 493"/>
                  <a:gd name="T12" fmla="*/ 2147483646 w 515"/>
                  <a:gd name="T13" fmla="*/ 2147483646 h 493"/>
                  <a:gd name="T14" fmla="*/ 2147483646 w 515"/>
                  <a:gd name="T15" fmla="*/ 2147483646 h 493"/>
                  <a:gd name="T16" fmla="*/ 0 w 515"/>
                  <a:gd name="T17" fmla="*/ 2147483646 h 493"/>
                  <a:gd name="T18" fmla="*/ 2147483646 w 515"/>
                  <a:gd name="T19" fmla="*/ 2147483646 h 493"/>
                  <a:gd name="T20" fmla="*/ 2147483646 w 515"/>
                  <a:gd name="T21" fmla="*/ 0 h 493"/>
                  <a:gd name="T22" fmla="*/ 2147483646 w 515"/>
                  <a:gd name="T23" fmla="*/ 0 h 493"/>
                  <a:gd name="T24" fmla="*/ 2147483646 w 515"/>
                  <a:gd name="T25" fmla="*/ 0 h 493"/>
                  <a:gd name="T26" fmla="*/ 2147483646 w 515"/>
                  <a:gd name="T27" fmla="*/ 0 h 493"/>
                  <a:gd name="T28" fmla="*/ 2147483646 w 515"/>
                  <a:gd name="T29" fmla="*/ 0 h 493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15" h="493">
                    <a:moveTo>
                      <a:pt x="255" y="0"/>
                    </a:moveTo>
                    <a:lnTo>
                      <a:pt x="337" y="166"/>
                    </a:lnTo>
                    <a:lnTo>
                      <a:pt x="515" y="185"/>
                    </a:lnTo>
                    <a:lnTo>
                      <a:pt x="386" y="313"/>
                    </a:lnTo>
                    <a:lnTo>
                      <a:pt x="412" y="493"/>
                    </a:lnTo>
                    <a:lnTo>
                      <a:pt x="255" y="403"/>
                    </a:lnTo>
                    <a:lnTo>
                      <a:pt x="101" y="493"/>
                    </a:lnTo>
                    <a:lnTo>
                      <a:pt x="129" y="313"/>
                    </a:lnTo>
                    <a:lnTo>
                      <a:pt x="0" y="185"/>
                    </a:lnTo>
                    <a:lnTo>
                      <a:pt x="176" y="166"/>
                    </a:lnTo>
                    <a:lnTo>
                      <a:pt x="255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41148" tIns="20574" rIns="41148" bIns="20574"/>
              <a:lstStyle/>
              <a:p>
                <a:endParaRPr lang="en-US"/>
              </a:p>
            </p:txBody>
          </p:sp>
          <p:sp>
            <p:nvSpPr>
              <p:cNvPr id="18476" name="Freeform 141"/>
              <p:cNvSpPr>
                <a:spLocks/>
              </p:cNvSpPr>
              <p:nvPr/>
            </p:nvSpPr>
            <p:spPr bwMode="auto">
              <a:xfrm>
                <a:off x="5542026" y="3079623"/>
                <a:ext cx="133731" cy="124968"/>
              </a:xfrm>
              <a:custGeom>
                <a:avLst/>
                <a:gdLst>
                  <a:gd name="T0" fmla="*/ 2147483646 w 351"/>
                  <a:gd name="T1" fmla="*/ 0 h 328"/>
                  <a:gd name="T2" fmla="*/ 2147483646 w 351"/>
                  <a:gd name="T3" fmla="*/ 2147483646 h 328"/>
                  <a:gd name="T4" fmla="*/ 2147483646 w 351"/>
                  <a:gd name="T5" fmla="*/ 2147483646 h 328"/>
                  <a:gd name="T6" fmla="*/ 2147483646 w 351"/>
                  <a:gd name="T7" fmla="*/ 2147483646 h 328"/>
                  <a:gd name="T8" fmla="*/ 2147483646 w 351"/>
                  <a:gd name="T9" fmla="*/ 2147483646 h 328"/>
                  <a:gd name="T10" fmla="*/ 2147483646 w 351"/>
                  <a:gd name="T11" fmla="*/ 2147483646 h 328"/>
                  <a:gd name="T12" fmla="*/ 2147483646 w 351"/>
                  <a:gd name="T13" fmla="*/ 2147483646 h 328"/>
                  <a:gd name="T14" fmla="*/ 2147483646 w 351"/>
                  <a:gd name="T15" fmla="*/ 2147483646 h 328"/>
                  <a:gd name="T16" fmla="*/ 0 w 351"/>
                  <a:gd name="T17" fmla="*/ 2147483646 h 328"/>
                  <a:gd name="T18" fmla="*/ 2147483646 w 351"/>
                  <a:gd name="T19" fmla="*/ 2147483646 h 328"/>
                  <a:gd name="T20" fmla="*/ 2147483646 w 351"/>
                  <a:gd name="T21" fmla="*/ 0 h 328"/>
                  <a:gd name="T22" fmla="*/ 2147483646 w 351"/>
                  <a:gd name="T23" fmla="*/ 0 h 328"/>
                  <a:gd name="T24" fmla="*/ 2147483646 w 351"/>
                  <a:gd name="T25" fmla="*/ 0 h 328"/>
                  <a:gd name="T26" fmla="*/ 2147483646 w 351"/>
                  <a:gd name="T27" fmla="*/ 0 h 328"/>
                  <a:gd name="T28" fmla="*/ 2147483646 w 351"/>
                  <a:gd name="T29" fmla="*/ 0 h 32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51" h="328">
                    <a:moveTo>
                      <a:pt x="176" y="0"/>
                    </a:moveTo>
                    <a:lnTo>
                      <a:pt x="231" y="111"/>
                    </a:lnTo>
                    <a:lnTo>
                      <a:pt x="351" y="130"/>
                    </a:lnTo>
                    <a:lnTo>
                      <a:pt x="266" y="212"/>
                    </a:lnTo>
                    <a:lnTo>
                      <a:pt x="285" y="328"/>
                    </a:lnTo>
                    <a:lnTo>
                      <a:pt x="176" y="272"/>
                    </a:lnTo>
                    <a:lnTo>
                      <a:pt x="70" y="328"/>
                    </a:lnTo>
                    <a:lnTo>
                      <a:pt x="87" y="212"/>
                    </a:lnTo>
                    <a:lnTo>
                      <a:pt x="0" y="130"/>
                    </a:lnTo>
                    <a:lnTo>
                      <a:pt x="120" y="111"/>
                    </a:lnTo>
                    <a:lnTo>
                      <a:pt x="176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41148" tIns="20574" rIns="41148" bIns="20574"/>
              <a:lstStyle/>
              <a:p>
                <a:endParaRPr lang="en-US"/>
              </a:p>
            </p:txBody>
          </p:sp>
          <p:sp>
            <p:nvSpPr>
              <p:cNvPr id="18477" name="Freeform 142"/>
              <p:cNvSpPr>
                <a:spLocks/>
              </p:cNvSpPr>
              <p:nvPr/>
            </p:nvSpPr>
            <p:spPr bwMode="auto">
              <a:xfrm>
                <a:off x="6515100" y="3079623"/>
                <a:ext cx="133350" cy="124968"/>
              </a:xfrm>
              <a:custGeom>
                <a:avLst/>
                <a:gdLst>
                  <a:gd name="T0" fmla="*/ 2147483646 w 350"/>
                  <a:gd name="T1" fmla="*/ 0 h 328"/>
                  <a:gd name="T2" fmla="*/ 2147483646 w 350"/>
                  <a:gd name="T3" fmla="*/ 2147483646 h 328"/>
                  <a:gd name="T4" fmla="*/ 2147483646 w 350"/>
                  <a:gd name="T5" fmla="*/ 2147483646 h 328"/>
                  <a:gd name="T6" fmla="*/ 2147483646 w 350"/>
                  <a:gd name="T7" fmla="*/ 2147483646 h 328"/>
                  <a:gd name="T8" fmla="*/ 2147483646 w 350"/>
                  <a:gd name="T9" fmla="*/ 2147483646 h 328"/>
                  <a:gd name="T10" fmla="*/ 2147483646 w 350"/>
                  <a:gd name="T11" fmla="*/ 2147483646 h 328"/>
                  <a:gd name="T12" fmla="*/ 2147483646 w 350"/>
                  <a:gd name="T13" fmla="*/ 2147483646 h 328"/>
                  <a:gd name="T14" fmla="*/ 2147483646 w 350"/>
                  <a:gd name="T15" fmla="*/ 2147483646 h 328"/>
                  <a:gd name="T16" fmla="*/ 0 w 350"/>
                  <a:gd name="T17" fmla="*/ 2147483646 h 328"/>
                  <a:gd name="T18" fmla="*/ 2147483646 w 350"/>
                  <a:gd name="T19" fmla="*/ 2147483646 h 328"/>
                  <a:gd name="T20" fmla="*/ 2147483646 w 350"/>
                  <a:gd name="T21" fmla="*/ 0 h 328"/>
                  <a:gd name="T22" fmla="*/ 2147483646 w 350"/>
                  <a:gd name="T23" fmla="*/ 0 h 328"/>
                  <a:gd name="T24" fmla="*/ 2147483646 w 350"/>
                  <a:gd name="T25" fmla="*/ 0 h 328"/>
                  <a:gd name="T26" fmla="*/ 2147483646 w 350"/>
                  <a:gd name="T27" fmla="*/ 0 h 328"/>
                  <a:gd name="T28" fmla="*/ 2147483646 w 350"/>
                  <a:gd name="T29" fmla="*/ 0 h 32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50" h="328">
                    <a:moveTo>
                      <a:pt x="174" y="0"/>
                    </a:moveTo>
                    <a:lnTo>
                      <a:pt x="234" y="111"/>
                    </a:lnTo>
                    <a:lnTo>
                      <a:pt x="350" y="130"/>
                    </a:lnTo>
                    <a:lnTo>
                      <a:pt x="264" y="212"/>
                    </a:lnTo>
                    <a:lnTo>
                      <a:pt x="288" y="328"/>
                    </a:lnTo>
                    <a:lnTo>
                      <a:pt x="174" y="272"/>
                    </a:lnTo>
                    <a:lnTo>
                      <a:pt x="69" y="328"/>
                    </a:lnTo>
                    <a:lnTo>
                      <a:pt x="90" y="212"/>
                    </a:lnTo>
                    <a:lnTo>
                      <a:pt x="0" y="130"/>
                    </a:lnTo>
                    <a:lnTo>
                      <a:pt x="123" y="111"/>
                    </a:lnTo>
                    <a:lnTo>
                      <a:pt x="174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41148" tIns="20574" rIns="41148" bIns="20574"/>
              <a:lstStyle/>
              <a:p>
                <a:endParaRPr lang="en-US"/>
              </a:p>
            </p:txBody>
          </p:sp>
          <p:sp>
            <p:nvSpPr>
              <p:cNvPr id="18478" name="Freeform 143"/>
              <p:cNvSpPr>
                <a:spLocks/>
              </p:cNvSpPr>
              <p:nvPr/>
            </p:nvSpPr>
            <p:spPr bwMode="auto">
              <a:xfrm>
                <a:off x="6309360" y="2883408"/>
                <a:ext cx="196215" cy="187833"/>
              </a:xfrm>
              <a:custGeom>
                <a:avLst/>
                <a:gdLst>
                  <a:gd name="T0" fmla="*/ 2147483646 w 515"/>
                  <a:gd name="T1" fmla="*/ 0 h 493"/>
                  <a:gd name="T2" fmla="*/ 2147483646 w 515"/>
                  <a:gd name="T3" fmla="*/ 2147483646 h 493"/>
                  <a:gd name="T4" fmla="*/ 2147483646 w 515"/>
                  <a:gd name="T5" fmla="*/ 2147483646 h 493"/>
                  <a:gd name="T6" fmla="*/ 2147483646 w 515"/>
                  <a:gd name="T7" fmla="*/ 2147483646 h 493"/>
                  <a:gd name="T8" fmla="*/ 2147483646 w 515"/>
                  <a:gd name="T9" fmla="*/ 2147483646 h 493"/>
                  <a:gd name="T10" fmla="*/ 2147483646 w 515"/>
                  <a:gd name="T11" fmla="*/ 2147483646 h 493"/>
                  <a:gd name="T12" fmla="*/ 2147483646 w 515"/>
                  <a:gd name="T13" fmla="*/ 2147483646 h 493"/>
                  <a:gd name="T14" fmla="*/ 2147483646 w 515"/>
                  <a:gd name="T15" fmla="*/ 2147483646 h 493"/>
                  <a:gd name="T16" fmla="*/ 0 w 515"/>
                  <a:gd name="T17" fmla="*/ 2147483646 h 493"/>
                  <a:gd name="T18" fmla="*/ 2147483646 w 515"/>
                  <a:gd name="T19" fmla="*/ 2147483646 h 493"/>
                  <a:gd name="T20" fmla="*/ 2147483646 w 515"/>
                  <a:gd name="T21" fmla="*/ 0 h 493"/>
                  <a:gd name="T22" fmla="*/ 2147483646 w 515"/>
                  <a:gd name="T23" fmla="*/ 0 h 493"/>
                  <a:gd name="T24" fmla="*/ 2147483646 w 515"/>
                  <a:gd name="T25" fmla="*/ 0 h 493"/>
                  <a:gd name="T26" fmla="*/ 2147483646 w 515"/>
                  <a:gd name="T27" fmla="*/ 0 h 493"/>
                  <a:gd name="T28" fmla="*/ 2147483646 w 515"/>
                  <a:gd name="T29" fmla="*/ 0 h 493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15" h="493">
                    <a:moveTo>
                      <a:pt x="257" y="0"/>
                    </a:moveTo>
                    <a:lnTo>
                      <a:pt x="337" y="166"/>
                    </a:lnTo>
                    <a:lnTo>
                      <a:pt x="515" y="185"/>
                    </a:lnTo>
                    <a:lnTo>
                      <a:pt x="388" y="313"/>
                    </a:lnTo>
                    <a:lnTo>
                      <a:pt x="418" y="493"/>
                    </a:lnTo>
                    <a:lnTo>
                      <a:pt x="257" y="403"/>
                    </a:lnTo>
                    <a:lnTo>
                      <a:pt x="98" y="493"/>
                    </a:lnTo>
                    <a:lnTo>
                      <a:pt x="124" y="313"/>
                    </a:lnTo>
                    <a:lnTo>
                      <a:pt x="0" y="185"/>
                    </a:lnTo>
                    <a:lnTo>
                      <a:pt x="178" y="166"/>
                    </a:lnTo>
                    <a:lnTo>
                      <a:pt x="257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41148" tIns="20574" rIns="41148" bIns="20574"/>
              <a:lstStyle/>
              <a:p>
                <a:endParaRPr lang="en-US"/>
              </a:p>
            </p:txBody>
          </p:sp>
          <p:sp>
            <p:nvSpPr>
              <p:cNvPr id="18479" name="Freeform 144"/>
              <p:cNvSpPr>
                <a:spLocks/>
              </p:cNvSpPr>
              <p:nvPr/>
            </p:nvSpPr>
            <p:spPr bwMode="auto">
              <a:xfrm>
                <a:off x="5819013" y="3079623"/>
                <a:ext cx="553212" cy="422910"/>
              </a:xfrm>
              <a:custGeom>
                <a:avLst/>
                <a:gdLst>
                  <a:gd name="T0" fmla="*/ 2147483646 w 775"/>
                  <a:gd name="T1" fmla="*/ 2147483646 h 592"/>
                  <a:gd name="T2" fmla="*/ 2147483646 w 775"/>
                  <a:gd name="T3" fmla="*/ 0 h 592"/>
                  <a:gd name="T4" fmla="*/ 363812912 w 775"/>
                  <a:gd name="T5" fmla="*/ 2147483646 h 592"/>
                  <a:gd name="T6" fmla="*/ 2147483646 w 775"/>
                  <a:gd name="T7" fmla="*/ 2147483646 h 592"/>
                  <a:gd name="T8" fmla="*/ 2147483646 w 775"/>
                  <a:gd name="T9" fmla="*/ 2147483646 h 592"/>
                  <a:gd name="T10" fmla="*/ 2147483646 w 775"/>
                  <a:gd name="T11" fmla="*/ 2147483646 h 592"/>
                  <a:gd name="T12" fmla="*/ 2147483646 w 775"/>
                  <a:gd name="T13" fmla="*/ 2147483646 h 592"/>
                  <a:gd name="T14" fmla="*/ 2147483646 w 775"/>
                  <a:gd name="T15" fmla="*/ 2147483646 h 592"/>
                  <a:gd name="T16" fmla="*/ 2147483646 w 775"/>
                  <a:gd name="T17" fmla="*/ 2147483646 h 592"/>
                  <a:gd name="T18" fmla="*/ 2147483646 w 775"/>
                  <a:gd name="T19" fmla="*/ 2147483646 h 592"/>
                  <a:gd name="T20" fmla="*/ 2147483646 w 775"/>
                  <a:gd name="T21" fmla="*/ 2147483646 h 592"/>
                  <a:gd name="T22" fmla="*/ 2147483646 w 775"/>
                  <a:gd name="T23" fmla="*/ 2147483646 h 592"/>
                  <a:gd name="T24" fmla="*/ 2147483646 w 775"/>
                  <a:gd name="T25" fmla="*/ 2147483646 h 592"/>
                  <a:gd name="T26" fmla="*/ 2147483646 w 775"/>
                  <a:gd name="T27" fmla="*/ 2147483646 h 59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775" h="592">
                    <a:moveTo>
                      <a:pt x="773" y="396"/>
                    </a:moveTo>
                    <a:cubicBezTo>
                      <a:pt x="773" y="177"/>
                      <a:pt x="606" y="0"/>
                      <a:pt x="387" y="0"/>
                    </a:cubicBezTo>
                    <a:cubicBezTo>
                      <a:pt x="168" y="0"/>
                      <a:pt x="1" y="177"/>
                      <a:pt x="1" y="396"/>
                    </a:cubicBezTo>
                    <a:cubicBezTo>
                      <a:pt x="1" y="445"/>
                      <a:pt x="0" y="491"/>
                      <a:pt x="16" y="534"/>
                    </a:cubicBezTo>
                    <a:cubicBezTo>
                      <a:pt x="16" y="535"/>
                      <a:pt x="16" y="535"/>
                      <a:pt x="16" y="535"/>
                    </a:cubicBezTo>
                    <a:cubicBezTo>
                      <a:pt x="54" y="570"/>
                      <a:pt x="54" y="584"/>
                      <a:pt x="54" y="584"/>
                    </a:cubicBezTo>
                    <a:cubicBezTo>
                      <a:pt x="80" y="586"/>
                      <a:pt x="80" y="586"/>
                      <a:pt x="80" y="586"/>
                    </a:cubicBezTo>
                    <a:cubicBezTo>
                      <a:pt x="80" y="586"/>
                      <a:pt x="59" y="354"/>
                      <a:pt x="175" y="318"/>
                    </a:cubicBezTo>
                    <a:cubicBezTo>
                      <a:pt x="175" y="318"/>
                      <a:pt x="640" y="522"/>
                      <a:pt x="684" y="300"/>
                    </a:cubicBezTo>
                    <a:cubicBezTo>
                      <a:pt x="688" y="577"/>
                      <a:pt x="688" y="592"/>
                      <a:pt x="688" y="592"/>
                    </a:cubicBezTo>
                    <a:cubicBezTo>
                      <a:pt x="716" y="592"/>
                      <a:pt x="716" y="592"/>
                      <a:pt x="716" y="592"/>
                    </a:cubicBezTo>
                    <a:cubicBezTo>
                      <a:pt x="752" y="550"/>
                      <a:pt x="759" y="530"/>
                      <a:pt x="760" y="530"/>
                    </a:cubicBezTo>
                    <a:cubicBezTo>
                      <a:pt x="760" y="530"/>
                      <a:pt x="760" y="530"/>
                      <a:pt x="760" y="530"/>
                    </a:cubicBezTo>
                    <a:cubicBezTo>
                      <a:pt x="775" y="489"/>
                      <a:pt x="773" y="443"/>
                      <a:pt x="773" y="39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41148" tIns="20574" rIns="41148" bIns="20574"/>
              <a:lstStyle/>
              <a:p>
                <a:endParaRPr lang="en-US"/>
              </a:p>
            </p:txBody>
          </p:sp>
          <p:sp>
            <p:nvSpPr>
              <p:cNvPr id="69" name="Freeform 145"/>
              <p:cNvSpPr>
                <a:spLocks/>
              </p:cNvSpPr>
              <p:nvPr/>
            </p:nvSpPr>
            <p:spPr bwMode="auto">
              <a:xfrm>
                <a:off x="5566901" y="3825240"/>
                <a:ext cx="1054392" cy="247649"/>
              </a:xfrm>
              <a:custGeom>
                <a:avLst/>
                <a:gdLst>
                  <a:gd name="T0" fmla="*/ 1459 w 1480"/>
                  <a:gd name="T1" fmla="*/ 338 h 338"/>
                  <a:gd name="T2" fmla="*/ 1476 w 1480"/>
                  <a:gd name="T3" fmla="*/ 314 h 338"/>
                  <a:gd name="T4" fmla="*/ 1297 w 1480"/>
                  <a:gd name="T5" fmla="*/ 54 h 338"/>
                  <a:gd name="T6" fmla="*/ 979 w 1480"/>
                  <a:gd name="T7" fmla="*/ 0 h 338"/>
                  <a:gd name="T8" fmla="*/ 979 w 1480"/>
                  <a:gd name="T9" fmla="*/ 0 h 338"/>
                  <a:gd name="T10" fmla="*/ 736 w 1480"/>
                  <a:gd name="T11" fmla="*/ 114 h 338"/>
                  <a:gd name="T12" fmla="*/ 744 w 1480"/>
                  <a:gd name="T13" fmla="*/ 114 h 338"/>
                  <a:gd name="T14" fmla="*/ 501 w 1480"/>
                  <a:gd name="T15" fmla="*/ 0 h 338"/>
                  <a:gd name="T16" fmla="*/ 501 w 1480"/>
                  <a:gd name="T17" fmla="*/ 0 h 338"/>
                  <a:gd name="T18" fmla="*/ 183 w 1480"/>
                  <a:gd name="T19" fmla="*/ 54 h 338"/>
                  <a:gd name="T20" fmla="*/ 4 w 1480"/>
                  <a:gd name="T21" fmla="*/ 314 h 338"/>
                  <a:gd name="T22" fmla="*/ 21 w 1480"/>
                  <a:gd name="T23" fmla="*/ 338 h 338"/>
                  <a:gd name="T24" fmla="*/ 1459 w 1480"/>
                  <a:gd name="T25" fmla="*/ 338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80" h="338">
                    <a:moveTo>
                      <a:pt x="1459" y="338"/>
                    </a:moveTo>
                    <a:cubicBezTo>
                      <a:pt x="1471" y="338"/>
                      <a:pt x="1480" y="325"/>
                      <a:pt x="1476" y="314"/>
                    </a:cubicBezTo>
                    <a:cubicBezTo>
                      <a:pt x="1453" y="253"/>
                      <a:pt x="1387" y="95"/>
                      <a:pt x="1297" y="54"/>
                    </a:cubicBezTo>
                    <a:cubicBezTo>
                      <a:pt x="1186" y="2"/>
                      <a:pt x="979" y="0"/>
                      <a:pt x="979" y="0"/>
                    </a:cubicBezTo>
                    <a:cubicBezTo>
                      <a:pt x="979" y="0"/>
                      <a:pt x="979" y="0"/>
                      <a:pt x="979" y="0"/>
                    </a:cubicBezTo>
                    <a:cubicBezTo>
                      <a:pt x="979" y="0"/>
                      <a:pt x="898" y="114"/>
                      <a:pt x="736" y="114"/>
                    </a:cubicBezTo>
                    <a:cubicBezTo>
                      <a:pt x="744" y="114"/>
                      <a:pt x="744" y="114"/>
                      <a:pt x="744" y="114"/>
                    </a:cubicBezTo>
                    <a:cubicBezTo>
                      <a:pt x="582" y="114"/>
                      <a:pt x="501" y="0"/>
                      <a:pt x="501" y="0"/>
                    </a:cubicBezTo>
                    <a:cubicBezTo>
                      <a:pt x="501" y="0"/>
                      <a:pt x="501" y="0"/>
                      <a:pt x="501" y="0"/>
                    </a:cubicBezTo>
                    <a:cubicBezTo>
                      <a:pt x="501" y="0"/>
                      <a:pt x="294" y="2"/>
                      <a:pt x="183" y="54"/>
                    </a:cubicBezTo>
                    <a:cubicBezTo>
                      <a:pt x="93" y="95"/>
                      <a:pt x="27" y="253"/>
                      <a:pt x="4" y="314"/>
                    </a:cubicBezTo>
                    <a:cubicBezTo>
                      <a:pt x="0" y="325"/>
                      <a:pt x="9" y="338"/>
                      <a:pt x="21" y="338"/>
                    </a:cubicBezTo>
                    <a:lnTo>
                      <a:pt x="1459" y="338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lIns="41148" tIns="20574" rIns="41148" bIns="20574"/>
              <a:lstStyle/>
              <a:p>
                <a:pPr>
                  <a:defRPr/>
                </a:pPr>
                <a:endParaRPr lang="en-GB" dirty="0">
                  <a:latin typeface="Gill Sans MT" panose="020B0502020104020203" pitchFamily="34" charset="0"/>
                </a:endParaRPr>
              </a:p>
            </p:txBody>
          </p:sp>
          <p:sp>
            <p:nvSpPr>
              <p:cNvPr id="18481" name="Freeform 146"/>
              <p:cNvSpPr>
                <a:spLocks/>
              </p:cNvSpPr>
              <p:nvPr/>
            </p:nvSpPr>
            <p:spPr bwMode="auto">
              <a:xfrm>
                <a:off x="5813298" y="3499866"/>
                <a:ext cx="563880" cy="333375"/>
              </a:xfrm>
              <a:custGeom>
                <a:avLst/>
                <a:gdLst>
                  <a:gd name="T0" fmla="*/ 0 w 790"/>
                  <a:gd name="T1" fmla="*/ 0 h 467"/>
                  <a:gd name="T2" fmla="*/ 363761843 w 790"/>
                  <a:gd name="T3" fmla="*/ 2147483646 h 467"/>
                  <a:gd name="T4" fmla="*/ 2147483646 w 790"/>
                  <a:gd name="T5" fmla="*/ 2147483646 h 467"/>
                  <a:gd name="T6" fmla="*/ 2147483646 w 790"/>
                  <a:gd name="T7" fmla="*/ 2147483646 h 467"/>
                  <a:gd name="T8" fmla="*/ 2147483646 w 790"/>
                  <a:gd name="T9" fmla="*/ 2147483646 h 467"/>
                  <a:gd name="T10" fmla="*/ 2147483646 w 790"/>
                  <a:gd name="T11" fmla="*/ 2147483646 h 467"/>
                  <a:gd name="T12" fmla="*/ 2147483646 w 790"/>
                  <a:gd name="T13" fmla="*/ 2147483646 h 467"/>
                  <a:gd name="T14" fmla="*/ 2147483646 w 790"/>
                  <a:gd name="T15" fmla="*/ 2147483646 h 467"/>
                  <a:gd name="T16" fmla="*/ 2147483646 w 790"/>
                  <a:gd name="T17" fmla="*/ 2147483646 h 467"/>
                  <a:gd name="T18" fmla="*/ 2147483646 w 790"/>
                  <a:gd name="T19" fmla="*/ 2147483646 h 467"/>
                  <a:gd name="T20" fmla="*/ 2147483646 w 790"/>
                  <a:gd name="T21" fmla="*/ 2147483646 h 467"/>
                  <a:gd name="T22" fmla="*/ 2147483646 w 790"/>
                  <a:gd name="T23" fmla="*/ 2147483646 h 467"/>
                  <a:gd name="T24" fmla="*/ 2147483646 w 790"/>
                  <a:gd name="T25" fmla="*/ 2147483646 h 467"/>
                  <a:gd name="T26" fmla="*/ 2147483646 w 790"/>
                  <a:gd name="T27" fmla="*/ 2147483646 h 467"/>
                  <a:gd name="T28" fmla="*/ 2147483646 w 790"/>
                  <a:gd name="T29" fmla="*/ 2147483646 h 467"/>
                  <a:gd name="T30" fmla="*/ 2147483646 w 790"/>
                  <a:gd name="T31" fmla="*/ 2147483646 h 467"/>
                  <a:gd name="T32" fmla="*/ 2147483646 w 790"/>
                  <a:gd name="T33" fmla="*/ 2147483646 h 467"/>
                  <a:gd name="T34" fmla="*/ 2147483646 w 790"/>
                  <a:gd name="T35" fmla="*/ 1818774785 h 467"/>
                  <a:gd name="T36" fmla="*/ 2147483646 w 790"/>
                  <a:gd name="T37" fmla="*/ 0 h 467"/>
                  <a:gd name="T38" fmla="*/ 2147483646 w 790"/>
                  <a:gd name="T39" fmla="*/ 2147483646 h 467"/>
                  <a:gd name="T40" fmla="*/ 2147483646 w 790"/>
                  <a:gd name="T41" fmla="*/ 2147483646 h 467"/>
                  <a:gd name="T42" fmla="*/ 2147483646 w 790"/>
                  <a:gd name="T43" fmla="*/ 2147483646 h 467"/>
                  <a:gd name="T44" fmla="*/ 2147483646 w 790"/>
                  <a:gd name="T45" fmla="*/ 2147483646 h 467"/>
                  <a:gd name="T46" fmla="*/ 2147483646 w 790"/>
                  <a:gd name="T47" fmla="*/ 2147483646 h 467"/>
                  <a:gd name="T48" fmla="*/ 2147483646 w 790"/>
                  <a:gd name="T49" fmla="*/ 2147483646 h 467"/>
                  <a:gd name="T50" fmla="*/ 2147483646 w 790"/>
                  <a:gd name="T51" fmla="*/ 2147483646 h 467"/>
                  <a:gd name="T52" fmla="*/ 2147483646 w 790"/>
                  <a:gd name="T53" fmla="*/ 2147483646 h 467"/>
                  <a:gd name="T54" fmla="*/ 2147483646 w 790"/>
                  <a:gd name="T55" fmla="*/ 2147483646 h 467"/>
                  <a:gd name="T56" fmla="*/ 0 w 790"/>
                  <a:gd name="T57" fmla="*/ 0 h 467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790" h="467">
                    <a:moveTo>
                      <a:pt x="0" y="0"/>
                    </a:moveTo>
                    <a:cubicBezTo>
                      <a:pt x="0" y="2"/>
                      <a:pt x="0" y="5"/>
                      <a:pt x="1" y="7"/>
                    </a:cubicBezTo>
                    <a:cubicBezTo>
                      <a:pt x="4" y="30"/>
                      <a:pt x="17" y="72"/>
                      <a:pt x="58" y="97"/>
                    </a:cubicBezTo>
                    <a:cubicBezTo>
                      <a:pt x="78" y="147"/>
                      <a:pt x="148" y="321"/>
                      <a:pt x="183" y="352"/>
                    </a:cubicBezTo>
                    <a:cubicBezTo>
                      <a:pt x="185" y="354"/>
                      <a:pt x="188" y="356"/>
                      <a:pt x="190" y="358"/>
                    </a:cubicBezTo>
                    <a:cubicBezTo>
                      <a:pt x="190" y="424"/>
                      <a:pt x="190" y="424"/>
                      <a:pt x="190" y="424"/>
                    </a:cubicBezTo>
                    <a:cubicBezTo>
                      <a:pt x="191" y="425"/>
                      <a:pt x="191" y="425"/>
                      <a:pt x="191" y="425"/>
                    </a:cubicBezTo>
                    <a:cubicBezTo>
                      <a:pt x="193" y="427"/>
                      <a:pt x="207" y="446"/>
                      <a:pt x="234" y="467"/>
                    </a:cubicBezTo>
                    <a:cubicBezTo>
                      <a:pt x="234" y="390"/>
                      <a:pt x="234" y="390"/>
                      <a:pt x="234" y="390"/>
                    </a:cubicBezTo>
                    <a:cubicBezTo>
                      <a:pt x="283" y="422"/>
                      <a:pt x="348" y="455"/>
                      <a:pt x="395" y="455"/>
                    </a:cubicBezTo>
                    <a:cubicBezTo>
                      <a:pt x="442" y="455"/>
                      <a:pt x="507" y="422"/>
                      <a:pt x="556" y="390"/>
                    </a:cubicBezTo>
                    <a:cubicBezTo>
                      <a:pt x="556" y="466"/>
                      <a:pt x="556" y="466"/>
                      <a:pt x="556" y="466"/>
                    </a:cubicBezTo>
                    <a:cubicBezTo>
                      <a:pt x="584" y="445"/>
                      <a:pt x="598" y="425"/>
                      <a:pt x="599" y="425"/>
                    </a:cubicBezTo>
                    <a:cubicBezTo>
                      <a:pt x="600" y="424"/>
                      <a:pt x="600" y="424"/>
                      <a:pt x="600" y="424"/>
                    </a:cubicBezTo>
                    <a:cubicBezTo>
                      <a:pt x="600" y="358"/>
                      <a:pt x="600" y="358"/>
                      <a:pt x="600" y="358"/>
                    </a:cubicBezTo>
                    <a:cubicBezTo>
                      <a:pt x="602" y="356"/>
                      <a:pt x="604" y="354"/>
                      <a:pt x="606" y="352"/>
                    </a:cubicBezTo>
                    <a:cubicBezTo>
                      <a:pt x="642" y="321"/>
                      <a:pt x="712" y="147"/>
                      <a:pt x="732" y="97"/>
                    </a:cubicBezTo>
                    <a:cubicBezTo>
                      <a:pt x="775" y="71"/>
                      <a:pt x="787" y="24"/>
                      <a:pt x="790" y="5"/>
                    </a:cubicBezTo>
                    <a:cubicBezTo>
                      <a:pt x="790" y="3"/>
                      <a:pt x="790" y="2"/>
                      <a:pt x="790" y="0"/>
                    </a:cubicBezTo>
                    <a:cubicBezTo>
                      <a:pt x="739" y="24"/>
                      <a:pt x="739" y="24"/>
                      <a:pt x="739" y="24"/>
                    </a:cubicBezTo>
                    <a:cubicBezTo>
                      <a:pt x="733" y="38"/>
                      <a:pt x="722" y="53"/>
                      <a:pt x="704" y="62"/>
                    </a:cubicBezTo>
                    <a:cubicBezTo>
                      <a:pt x="700" y="64"/>
                      <a:pt x="696" y="68"/>
                      <a:pt x="694" y="73"/>
                    </a:cubicBezTo>
                    <a:cubicBezTo>
                      <a:pt x="659" y="164"/>
                      <a:pt x="599" y="300"/>
                      <a:pt x="577" y="319"/>
                    </a:cubicBezTo>
                    <a:cubicBezTo>
                      <a:pt x="542" y="350"/>
                      <a:pt x="446" y="411"/>
                      <a:pt x="395" y="411"/>
                    </a:cubicBezTo>
                    <a:cubicBezTo>
                      <a:pt x="344" y="411"/>
                      <a:pt x="248" y="350"/>
                      <a:pt x="213" y="319"/>
                    </a:cubicBezTo>
                    <a:cubicBezTo>
                      <a:pt x="191" y="300"/>
                      <a:pt x="131" y="164"/>
                      <a:pt x="96" y="73"/>
                    </a:cubicBezTo>
                    <a:cubicBezTo>
                      <a:pt x="94" y="68"/>
                      <a:pt x="90" y="64"/>
                      <a:pt x="85" y="62"/>
                    </a:cubicBezTo>
                    <a:cubicBezTo>
                      <a:pt x="67" y="53"/>
                      <a:pt x="57" y="38"/>
                      <a:pt x="51" y="24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41148" tIns="20574" rIns="41148" bIns="20574"/>
              <a:lstStyle/>
              <a:p>
                <a:endParaRPr lang="en-US"/>
              </a:p>
            </p:txBody>
          </p:sp>
        </p:grpSp>
      </p:grpSp>
      <p:sp>
        <p:nvSpPr>
          <p:cNvPr id="18461" name="ee4pFootnotes"/>
          <p:cNvSpPr>
            <a:spLocks noChangeArrowheads="1"/>
          </p:cNvSpPr>
          <p:nvPr/>
        </p:nvSpPr>
        <p:spPr bwMode="auto">
          <a:xfrm>
            <a:off x="6772276" y="5811927"/>
            <a:ext cx="5408414" cy="249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en-US" altLang="en-US" dirty="0">
                <a:latin typeface="Gill Sans MT" panose="020B0502020104020203" pitchFamily="34" charset="0"/>
              </a:rPr>
              <a:t> As of 06 August 2023; Sources: BNR</a:t>
            </a:r>
          </a:p>
        </p:txBody>
      </p:sp>
      <p:pic>
        <p:nvPicPr>
          <p:cNvPr id="18462" name="Picture 83" descr="Agriculture Clipart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3616" y="1638301"/>
            <a:ext cx="491728" cy="4536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63" name="Picture 8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2532" y="3646885"/>
            <a:ext cx="479822" cy="4798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8464" name="Group 85"/>
          <p:cNvGrpSpPr>
            <a:grpSpLocks noChangeAspect="1"/>
          </p:cNvGrpSpPr>
          <p:nvPr/>
        </p:nvGrpSpPr>
        <p:grpSpPr bwMode="auto">
          <a:xfrm>
            <a:off x="4975624" y="1619251"/>
            <a:ext cx="520303" cy="519113"/>
            <a:chOff x="4189413" y="2197100"/>
            <a:chExt cx="3849686" cy="3848101"/>
          </a:xfrm>
        </p:grpSpPr>
        <p:grpSp>
          <p:nvGrpSpPr>
            <p:cNvPr id="18465" name="Group 86"/>
            <p:cNvGrpSpPr>
              <a:grpSpLocks/>
            </p:cNvGrpSpPr>
            <p:nvPr/>
          </p:nvGrpSpPr>
          <p:grpSpPr bwMode="auto">
            <a:xfrm>
              <a:off x="4189413" y="2197100"/>
              <a:ext cx="3849686" cy="3848101"/>
              <a:chOff x="4189413" y="2197100"/>
              <a:chExt cx="3849686" cy="3848101"/>
            </a:xfrm>
          </p:grpSpPr>
          <p:sp>
            <p:nvSpPr>
              <p:cNvPr id="18467" name="Freeform 22"/>
              <p:cNvSpPr>
                <a:spLocks/>
              </p:cNvSpPr>
              <p:nvPr/>
            </p:nvSpPr>
            <p:spPr bwMode="auto">
              <a:xfrm>
                <a:off x="4965700" y="3656013"/>
                <a:ext cx="1425575" cy="2389188"/>
              </a:xfrm>
              <a:custGeom>
                <a:avLst/>
                <a:gdLst>
                  <a:gd name="T0" fmla="*/ 2147483646 w 898"/>
                  <a:gd name="T1" fmla="*/ 2147483646 h 1505"/>
                  <a:gd name="T2" fmla="*/ 2147483646 w 898"/>
                  <a:gd name="T3" fmla="*/ 2147483646 h 1505"/>
                  <a:gd name="T4" fmla="*/ 2147483646 w 898"/>
                  <a:gd name="T5" fmla="*/ 2147483646 h 1505"/>
                  <a:gd name="T6" fmla="*/ 2147483646 w 898"/>
                  <a:gd name="T7" fmla="*/ 2147483646 h 1505"/>
                  <a:gd name="T8" fmla="*/ 2147483646 w 898"/>
                  <a:gd name="T9" fmla="*/ 2147483646 h 1505"/>
                  <a:gd name="T10" fmla="*/ 2147483646 w 898"/>
                  <a:gd name="T11" fmla="*/ 2147483646 h 1505"/>
                  <a:gd name="T12" fmla="*/ 2147483646 w 898"/>
                  <a:gd name="T13" fmla="*/ 2147483646 h 1505"/>
                  <a:gd name="T14" fmla="*/ 2147483646 w 898"/>
                  <a:gd name="T15" fmla="*/ 2147483646 h 1505"/>
                  <a:gd name="T16" fmla="*/ 2147483646 w 898"/>
                  <a:gd name="T17" fmla="*/ 2147483646 h 1505"/>
                  <a:gd name="T18" fmla="*/ 2147483646 w 898"/>
                  <a:gd name="T19" fmla="*/ 2147483646 h 1505"/>
                  <a:gd name="T20" fmla="*/ 2147483646 w 898"/>
                  <a:gd name="T21" fmla="*/ 2147483646 h 1505"/>
                  <a:gd name="T22" fmla="*/ 2147483646 w 898"/>
                  <a:gd name="T23" fmla="*/ 2147483646 h 1505"/>
                  <a:gd name="T24" fmla="*/ 2147483646 w 898"/>
                  <a:gd name="T25" fmla="*/ 2147483646 h 1505"/>
                  <a:gd name="T26" fmla="*/ 2147483646 w 898"/>
                  <a:gd name="T27" fmla="*/ 2147483646 h 1505"/>
                  <a:gd name="T28" fmla="*/ 2147483646 w 898"/>
                  <a:gd name="T29" fmla="*/ 2147483646 h 1505"/>
                  <a:gd name="T30" fmla="*/ 2147483646 w 898"/>
                  <a:gd name="T31" fmla="*/ 2147483646 h 1505"/>
                  <a:gd name="T32" fmla="*/ 2147483646 w 898"/>
                  <a:gd name="T33" fmla="*/ 2147483646 h 1505"/>
                  <a:gd name="T34" fmla="*/ 2147483646 w 898"/>
                  <a:gd name="T35" fmla="*/ 2147483646 h 1505"/>
                  <a:gd name="T36" fmla="*/ 2147483646 w 898"/>
                  <a:gd name="T37" fmla="*/ 2147483646 h 1505"/>
                  <a:gd name="T38" fmla="*/ 2147483646 w 898"/>
                  <a:gd name="T39" fmla="*/ 2147483646 h 1505"/>
                  <a:gd name="T40" fmla="*/ 2147483646 w 898"/>
                  <a:gd name="T41" fmla="*/ 2147483646 h 1505"/>
                  <a:gd name="T42" fmla="*/ 2147483646 w 898"/>
                  <a:gd name="T43" fmla="*/ 2147483646 h 1505"/>
                  <a:gd name="T44" fmla="*/ 2147483646 w 898"/>
                  <a:gd name="T45" fmla="*/ 2147483646 h 1505"/>
                  <a:gd name="T46" fmla="*/ 2147483646 w 898"/>
                  <a:gd name="T47" fmla="*/ 2147483646 h 1505"/>
                  <a:gd name="T48" fmla="*/ 2147483646 w 898"/>
                  <a:gd name="T49" fmla="*/ 2147483646 h 1505"/>
                  <a:gd name="T50" fmla="*/ 2147483646 w 898"/>
                  <a:gd name="T51" fmla="*/ 2147483646 h 1505"/>
                  <a:gd name="T52" fmla="*/ 2147483646 w 898"/>
                  <a:gd name="T53" fmla="*/ 2147483646 h 1505"/>
                  <a:gd name="T54" fmla="*/ 2147483646 w 898"/>
                  <a:gd name="T55" fmla="*/ 2147483646 h 1505"/>
                  <a:gd name="T56" fmla="*/ 2147483646 w 898"/>
                  <a:gd name="T57" fmla="*/ 2147483646 h 1505"/>
                  <a:gd name="T58" fmla="*/ 2147483646 w 898"/>
                  <a:gd name="T59" fmla="*/ 2147483646 h 1505"/>
                  <a:gd name="T60" fmla="*/ 2147483646 w 898"/>
                  <a:gd name="T61" fmla="*/ 2147483646 h 1505"/>
                  <a:gd name="T62" fmla="*/ 2147483646 w 898"/>
                  <a:gd name="T63" fmla="*/ 2147483646 h 1505"/>
                  <a:gd name="T64" fmla="*/ 2147483646 w 898"/>
                  <a:gd name="T65" fmla="*/ 2147483646 h 1505"/>
                  <a:gd name="T66" fmla="*/ 2147483646 w 898"/>
                  <a:gd name="T67" fmla="*/ 2147483646 h 1505"/>
                  <a:gd name="T68" fmla="*/ 2147483646 w 898"/>
                  <a:gd name="T69" fmla="*/ 2147483646 h 1505"/>
                  <a:gd name="T70" fmla="*/ 2147483646 w 898"/>
                  <a:gd name="T71" fmla="*/ 2147483646 h 1505"/>
                  <a:gd name="T72" fmla="*/ 2147483646 w 898"/>
                  <a:gd name="T73" fmla="*/ 2147483646 h 1505"/>
                  <a:gd name="T74" fmla="*/ 2147483646 w 898"/>
                  <a:gd name="T75" fmla="*/ 2147483646 h 1505"/>
                  <a:gd name="T76" fmla="*/ 2147483646 w 898"/>
                  <a:gd name="T77" fmla="*/ 2147483646 h 1505"/>
                  <a:gd name="T78" fmla="*/ 2147483646 w 898"/>
                  <a:gd name="T79" fmla="*/ 2147483646 h 1505"/>
                  <a:gd name="T80" fmla="*/ 2147483646 w 898"/>
                  <a:gd name="T81" fmla="*/ 2147483646 h 1505"/>
                  <a:gd name="T82" fmla="*/ 2147483646 w 898"/>
                  <a:gd name="T83" fmla="*/ 2147483646 h 1505"/>
                  <a:gd name="T84" fmla="*/ 2147483646 w 898"/>
                  <a:gd name="T85" fmla="*/ 2147483646 h 1505"/>
                  <a:gd name="T86" fmla="*/ 2147483646 w 898"/>
                  <a:gd name="T87" fmla="*/ 2147483646 h 1505"/>
                  <a:gd name="T88" fmla="*/ 2147483646 w 898"/>
                  <a:gd name="T89" fmla="*/ 2147483646 h 1505"/>
                  <a:gd name="T90" fmla="*/ 2147483646 w 898"/>
                  <a:gd name="T91" fmla="*/ 2147483646 h 1505"/>
                  <a:gd name="T92" fmla="*/ 2147483646 w 898"/>
                  <a:gd name="T93" fmla="*/ 2147483646 h 1505"/>
                  <a:gd name="T94" fmla="*/ 2147483646 w 898"/>
                  <a:gd name="T95" fmla="*/ 2147483646 h 1505"/>
                  <a:gd name="T96" fmla="*/ 2147483646 w 898"/>
                  <a:gd name="T97" fmla="*/ 2147483646 h 1505"/>
                  <a:gd name="T98" fmla="*/ 2147483646 w 898"/>
                  <a:gd name="T99" fmla="*/ 2147483646 h 1505"/>
                  <a:gd name="T100" fmla="*/ 2147483646 w 898"/>
                  <a:gd name="T101" fmla="*/ 2147483646 h 1505"/>
                  <a:gd name="T102" fmla="*/ 2147483646 w 898"/>
                  <a:gd name="T103" fmla="*/ 2147483646 h 1505"/>
                  <a:gd name="T104" fmla="*/ 2147483646 w 898"/>
                  <a:gd name="T105" fmla="*/ 2147483646 h 1505"/>
                  <a:gd name="T106" fmla="*/ 2147483646 w 898"/>
                  <a:gd name="T107" fmla="*/ 2147483646 h 1505"/>
                  <a:gd name="T108" fmla="*/ 2147483646 w 898"/>
                  <a:gd name="T109" fmla="*/ 2147483646 h 1505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898" h="1505">
                    <a:moveTo>
                      <a:pt x="854" y="247"/>
                    </a:moveTo>
                    <a:lnTo>
                      <a:pt x="854" y="248"/>
                    </a:lnTo>
                    <a:lnTo>
                      <a:pt x="856" y="253"/>
                    </a:lnTo>
                    <a:lnTo>
                      <a:pt x="860" y="265"/>
                    </a:lnTo>
                    <a:lnTo>
                      <a:pt x="863" y="275"/>
                    </a:lnTo>
                    <a:lnTo>
                      <a:pt x="866" y="280"/>
                    </a:lnTo>
                    <a:lnTo>
                      <a:pt x="869" y="286"/>
                    </a:lnTo>
                    <a:lnTo>
                      <a:pt x="873" y="294"/>
                    </a:lnTo>
                    <a:lnTo>
                      <a:pt x="876" y="304"/>
                    </a:lnTo>
                    <a:lnTo>
                      <a:pt x="880" y="314"/>
                    </a:lnTo>
                    <a:lnTo>
                      <a:pt x="877" y="321"/>
                    </a:lnTo>
                    <a:lnTo>
                      <a:pt x="877" y="323"/>
                    </a:lnTo>
                    <a:lnTo>
                      <a:pt x="876" y="328"/>
                    </a:lnTo>
                    <a:lnTo>
                      <a:pt x="876" y="337"/>
                    </a:lnTo>
                    <a:lnTo>
                      <a:pt x="874" y="345"/>
                    </a:lnTo>
                    <a:lnTo>
                      <a:pt x="869" y="352"/>
                    </a:lnTo>
                    <a:lnTo>
                      <a:pt x="881" y="373"/>
                    </a:lnTo>
                    <a:lnTo>
                      <a:pt x="889" y="394"/>
                    </a:lnTo>
                    <a:lnTo>
                      <a:pt x="883" y="405"/>
                    </a:lnTo>
                    <a:lnTo>
                      <a:pt x="878" y="409"/>
                    </a:lnTo>
                    <a:lnTo>
                      <a:pt x="869" y="414"/>
                    </a:lnTo>
                    <a:lnTo>
                      <a:pt x="860" y="424"/>
                    </a:lnTo>
                    <a:lnTo>
                      <a:pt x="857" y="437"/>
                    </a:lnTo>
                    <a:lnTo>
                      <a:pt x="866" y="455"/>
                    </a:lnTo>
                    <a:lnTo>
                      <a:pt x="875" y="462"/>
                    </a:lnTo>
                    <a:lnTo>
                      <a:pt x="881" y="463"/>
                    </a:lnTo>
                    <a:lnTo>
                      <a:pt x="888" y="465"/>
                    </a:lnTo>
                    <a:lnTo>
                      <a:pt x="895" y="468"/>
                    </a:lnTo>
                    <a:lnTo>
                      <a:pt x="898" y="470"/>
                    </a:lnTo>
                    <a:lnTo>
                      <a:pt x="896" y="484"/>
                    </a:lnTo>
                    <a:lnTo>
                      <a:pt x="896" y="508"/>
                    </a:lnTo>
                    <a:lnTo>
                      <a:pt x="896" y="525"/>
                    </a:lnTo>
                    <a:lnTo>
                      <a:pt x="888" y="541"/>
                    </a:lnTo>
                    <a:lnTo>
                      <a:pt x="870" y="563"/>
                    </a:lnTo>
                    <a:lnTo>
                      <a:pt x="857" y="591"/>
                    </a:lnTo>
                    <a:lnTo>
                      <a:pt x="859" y="637"/>
                    </a:lnTo>
                    <a:lnTo>
                      <a:pt x="853" y="704"/>
                    </a:lnTo>
                    <a:lnTo>
                      <a:pt x="838" y="752"/>
                    </a:lnTo>
                    <a:lnTo>
                      <a:pt x="838" y="754"/>
                    </a:lnTo>
                    <a:lnTo>
                      <a:pt x="837" y="757"/>
                    </a:lnTo>
                    <a:lnTo>
                      <a:pt x="833" y="782"/>
                    </a:lnTo>
                    <a:lnTo>
                      <a:pt x="830" y="809"/>
                    </a:lnTo>
                    <a:lnTo>
                      <a:pt x="828" y="813"/>
                    </a:lnTo>
                    <a:lnTo>
                      <a:pt x="827" y="816"/>
                    </a:lnTo>
                    <a:lnTo>
                      <a:pt x="824" y="820"/>
                    </a:lnTo>
                    <a:lnTo>
                      <a:pt x="816" y="812"/>
                    </a:lnTo>
                    <a:lnTo>
                      <a:pt x="806" y="806"/>
                    </a:lnTo>
                    <a:lnTo>
                      <a:pt x="795" y="806"/>
                    </a:lnTo>
                    <a:lnTo>
                      <a:pt x="791" y="814"/>
                    </a:lnTo>
                    <a:lnTo>
                      <a:pt x="791" y="827"/>
                    </a:lnTo>
                    <a:lnTo>
                      <a:pt x="783" y="897"/>
                    </a:lnTo>
                    <a:lnTo>
                      <a:pt x="791" y="1002"/>
                    </a:lnTo>
                    <a:lnTo>
                      <a:pt x="766" y="1106"/>
                    </a:lnTo>
                    <a:lnTo>
                      <a:pt x="760" y="1247"/>
                    </a:lnTo>
                    <a:lnTo>
                      <a:pt x="760" y="1262"/>
                    </a:lnTo>
                    <a:lnTo>
                      <a:pt x="753" y="1292"/>
                    </a:lnTo>
                    <a:lnTo>
                      <a:pt x="741" y="1323"/>
                    </a:lnTo>
                    <a:lnTo>
                      <a:pt x="727" y="1351"/>
                    </a:lnTo>
                    <a:lnTo>
                      <a:pt x="711" y="1375"/>
                    </a:lnTo>
                    <a:lnTo>
                      <a:pt x="686" y="1403"/>
                    </a:lnTo>
                    <a:lnTo>
                      <a:pt x="664" y="1418"/>
                    </a:lnTo>
                    <a:lnTo>
                      <a:pt x="640" y="1424"/>
                    </a:lnTo>
                    <a:lnTo>
                      <a:pt x="610" y="1423"/>
                    </a:lnTo>
                    <a:lnTo>
                      <a:pt x="583" y="1414"/>
                    </a:lnTo>
                    <a:lnTo>
                      <a:pt x="570" y="1414"/>
                    </a:lnTo>
                    <a:lnTo>
                      <a:pt x="561" y="1426"/>
                    </a:lnTo>
                    <a:lnTo>
                      <a:pt x="557" y="1456"/>
                    </a:lnTo>
                    <a:lnTo>
                      <a:pt x="551" y="1468"/>
                    </a:lnTo>
                    <a:lnTo>
                      <a:pt x="540" y="1477"/>
                    </a:lnTo>
                    <a:lnTo>
                      <a:pt x="513" y="1480"/>
                    </a:lnTo>
                    <a:lnTo>
                      <a:pt x="491" y="1475"/>
                    </a:lnTo>
                    <a:lnTo>
                      <a:pt x="441" y="1457"/>
                    </a:lnTo>
                    <a:lnTo>
                      <a:pt x="428" y="1452"/>
                    </a:lnTo>
                    <a:lnTo>
                      <a:pt x="420" y="1452"/>
                    </a:lnTo>
                    <a:lnTo>
                      <a:pt x="384" y="1466"/>
                    </a:lnTo>
                    <a:lnTo>
                      <a:pt x="376" y="1472"/>
                    </a:lnTo>
                    <a:lnTo>
                      <a:pt x="366" y="1477"/>
                    </a:lnTo>
                    <a:lnTo>
                      <a:pt x="354" y="1477"/>
                    </a:lnTo>
                    <a:lnTo>
                      <a:pt x="328" y="1480"/>
                    </a:lnTo>
                    <a:lnTo>
                      <a:pt x="305" y="1496"/>
                    </a:lnTo>
                    <a:lnTo>
                      <a:pt x="283" y="1505"/>
                    </a:lnTo>
                    <a:lnTo>
                      <a:pt x="255" y="1487"/>
                    </a:lnTo>
                    <a:lnTo>
                      <a:pt x="212" y="1478"/>
                    </a:lnTo>
                    <a:lnTo>
                      <a:pt x="188" y="1473"/>
                    </a:lnTo>
                    <a:lnTo>
                      <a:pt x="167" y="1475"/>
                    </a:lnTo>
                    <a:lnTo>
                      <a:pt x="115" y="1501"/>
                    </a:lnTo>
                    <a:lnTo>
                      <a:pt x="86" y="1505"/>
                    </a:lnTo>
                    <a:lnTo>
                      <a:pt x="76" y="1478"/>
                    </a:lnTo>
                    <a:lnTo>
                      <a:pt x="74" y="1460"/>
                    </a:lnTo>
                    <a:lnTo>
                      <a:pt x="63" y="1432"/>
                    </a:lnTo>
                    <a:lnTo>
                      <a:pt x="60" y="1416"/>
                    </a:lnTo>
                    <a:lnTo>
                      <a:pt x="65" y="1402"/>
                    </a:lnTo>
                    <a:lnTo>
                      <a:pt x="81" y="1379"/>
                    </a:lnTo>
                    <a:lnTo>
                      <a:pt x="84" y="1363"/>
                    </a:lnTo>
                    <a:lnTo>
                      <a:pt x="77" y="1346"/>
                    </a:lnTo>
                    <a:lnTo>
                      <a:pt x="51" y="1318"/>
                    </a:lnTo>
                    <a:lnTo>
                      <a:pt x="50" y="1317"/>
                    </a:lnTo>
                    <a:lnTo>
                      <a:pt x="73" y="1303"/>
                    </a:lnTo>
                    <a:lnTo>
                      <a:pt x="79" y="1302"/>
                    </a:lnTo>
                    <a:lnTo>
                      <a:pt x="89" y="1295"/>
                    </a:lnTo>
                    <a:lnTo>
                      <a:pt x="107" y="1260"/>
                    </a:lnTo>
                    <a:lnTo>
                      <a:pt x="110" y="1211"/>
                    </a:lnTo>
                    <a:lnTo>
                      <a:pt x="96" y="1187"/>
                    </a:lnTo>
                    <a:lnTo>
                      <a:pt x="91" y="1177"/>
                    </a:lnTo>
                    <a:lnTo>
                      <a:pt x="89" y="1167"/>
                    </a:lnTo>
                    <a:lnTo>
                      <a:pt x="91" y="1155"/>
                    </a:lnTo>
                    <a:lnTo>
                      <a:pt x="93" y="1141"/>
                    </a:lnTo>
                    <a:lnTo>
                      <a:pt x="88" y="1132"/>
                    </a:lnTo>
                    <a:lnTo>
                      <a:pt x="82" y="1118"/>
                    </a:lnTo>
                    <a:lnTo>
                      <a:pt x="73" y="1106"/>
                    </a:lnTo>
                    <a:lnTo>
                      <a:pt x="66" y="1088"/>
                    </a:lnTo>
                    <a:lnTo>
                      <a:pt x="64" y="1067"/>
                    </a:lnTo>
                    <a:lnTo>
                      <a:pt x="53" y="1052"/>
                    </a:lnTo>
                    <a:lnTo>
                      <a:pt x="38" y="1044"/>
                    </a:lnTo>
                    <a:lnTo>
                      <a:pt x="16" y="1036"/>
                    </a:lnTo>
                    <a:lnTo>
                      <a:pt x="1" y="1026"/>
                    </a:lnTo>
                    <a:lnTo>
                      <a:pt x="0" y="1017"/>
                    </a:lnTo>
                    <a:lnTo>
                      <a:pt x="6" y="999"/>
                    </a:lnTo>
                    <a:lnTo>
                      <a:pt x="16" y="982"/>
                    </a:lnTo>
                    <a:lnTo>
                      <a:pt x="42" y="967"/>
                    </a:lnTo>
                    <a:lnTo>
                      <a:pt x="66" y="950"/>
                    </a:lnTo>
                    <a:lnTo>
                      <a:pt x="71" y="939"/>
                    </a:lnTo>
                    <a:lnTo>
                      <a:pt x="67" y="922"/>
                    </a:lnTo>
                    <a:lnTo>
                      <a:pt x="64" y="910"/>
                    </a:lnTo>
                    <a:lnTo>
                      <a:pt x="73" y="891"/>
                    </a:lnTo>
                    <a:lnTo>
                      <a:pt x="86" y="870"/>
                    </a:lnTo>
                    <a:lnTo>
                      <a:pt x="87" y="857"/>
                    </a:lnTo>
                    <a:lnTo>
                      <a:pt x="79" y="838"/>
                    </a:lnTo>
                    <a:lnTo>
                      <a:pt x="71" y="815"/>
                    </a:lnTo>
                    <a:lnTo>
                      <a:pt x="74" y="796"/>
                    </a:lnTo>
                    <a:lnTo>
                      <a:pt x="86" y="780"/>
                    </a:lnTo>
                    <a:lnTo>
                      <a:pt x="105" y="770"/>
                    </a:lnTo>
                    <a:lnTo>
                      <a:pt x="122" y="766"/>
                    </a:lnTo>
                    <a:lnTo>
                      <a:pt x="135" y="771"/>
                    </a:lnTo>
                    <a:lnTo>
                      <a:pt x="150" y="764"/>
                    </a:lnTo>
                    <a:lnTo>
                      <a:pt x="173" y="744"/>
                    </a:lnTo>
                    <a:lnTo>
                      <a:pt x="197" y="739"/>
                    </a:lnTo>
                    <a:lnTo>
                      <a:pt x="217" y="739"/>
                    </a:lnTo>
                    <a:lnTo>
                      <a:pt x="231" y="738"/>
                    </a:lnTo>
                    <a:lnTo>
                      <a:pt x="238" y="739"/>
                    </a:lnTo>
                    <a:lnTo>
                      <a:pt x="256" y="719"/>
                    </a:lnTo>
                    <a:lnTo>
                      <a:pt x="286" y="693"/>
                    </a:lnTo>
                    <a:lnTo>
                      <a:pt x="302" y="682"/>
                    </a:lnTo>
                    <a:lnTo>
                      <a:pt x="315" y="669"/>
                    </a:lnTo>
                    <a:lnTo>
                      <a:pt x="330" y="658"/>
                    </a:lnTo>
                    <a:lnTo>
                      <a:pt x="337" y="650"/>
                    </a:lnTo>
                    <a:lnTo>
                      <a:pt x="342" y="641"/>
                    </a:lnTo>
                    <a:lnTo>
                      <a:pt x="349" y="645"/>
                    </a:lnTo>
                    <a:lnTo>
                      <a:pt x="356" y="647"/>
                    </a:lnTo>
                    <a:lnTo>
                      <a:pt x="365" y="644"/>
                    </a:lnTo>
                    <a:lnTo>
                      <a:pt x="375" y="640"/>
                    </a:lnTo>
                    <a:lnTo>
                      <a:pt x="383" y="636"/>
                    </a:lnTo>
                    <a:lnTo>
                      <a:pt x="396" y="626"/>
                    </a:lnTo>
                    <a:lnTo>
                      <a:pt x="406" y="620"/>
                    </a:lnTo>
                    <a:lnTo>
                      <a:pt x="405" y="602"/>
                    </a:lnTo>
                    <a:lnTo>
                      <a:pt x="400" y="583"/>
                    </a:lnTo>
                    <a:lnTo>
                      <a:pt x="397" y="574"/>
                    </a:lnTo>
                    <a:lnTo>
                      <a:pt x="399" y="560"/>
                    </a:lnTo>
                    <a:lnTo>
                      <a:pt x="409" y="538"/>
                    </a:lnTo>
                    <a:lnTo>
                      <a:pt x="416" y="518"/>
                    </a:lnTo>
                    <a:lnTo>
                      <a:pt x="416" y="508"/>
                    </a:lnTo>
                    <a:lnTo>
                      <a:pt x="421" y="499"/>
                    </a:lnTo>
                    <a:lnTo>
                      <a:pt x="423" y="492"/>
                    </a:lnTo>
                    <a:lnTo>
                      <a:pt x="429" y="483"/>
                    </a:lnTo>
                    <a:lnTo>
                      <a:pt x="437" y="469"/>
                    </a:lnTo>
                    <a:lnTo>
                      <a:pt x="440" y="456"/>
                    </a:lnTo>
                    <a:lnTo>
                      <a:pt x="441" y="444"/>
                    </a:lnTo>
                    <a:lnTo>
                      <a:pt x="442" y="433"/>
                    </a:lnTo>
                    <a:lnTo>
                      <a:pt x="439" y="423"/>
                    </a:lnTo>
                    <a:lnTo>
                      <a:pt x="435" y="408"/>
                    </a:lnTo>
                    <a:lnTo>
                      <a:pt x="436" y="379"/>
                    </a:lnTo>
                    <a:lnTo>
                      <a:pt x="432" y="349"/>
                    </a:lnTo>
                    <a:lnTo>
                      <a:pt x="426" y="335"/>
                    </a:lnTo>
                    <a:lnTo>
                      <a:pt x="439" y="335"/>
                    </a:lnTo>
                    <a:lnTo>
                      <a:pt x="456" y="336"/>
                    </a:lnTo>
                    <a:lnTo>
                      <a:pt x="470" y="330"/>
                    </a:lnTo>
                    <a:lnTo>
                      <a:pt x="482" y="319"/>
                    </a:lnTo>
                    <a:lnTo>
                      <a:pt x="484" y="304"/>
                    </a:lnTo>
                    <a:lnTo>
                      <a:pt x="478" y="294"/>
                    </a:lnTo>
                    <a:lnTo>
                      <a:pt x="475" y="279"/>
                    </a:lnTo>
                    <a:lnTo>
                      <a:pt x="473" y="263"/>
                    </a:lnTo>
                    <a:lnTo>
                      <a:pt x="478" y="253"/>
                    </a:lnTo>
                    <a:lnTo>
                      <a:pt x="485" y="234"/>
                    </a:lnTo>
                    <a:lnTo>
                      <a:pt x="482" y="198"/>
                    </a:lnTo>
                    <a:lnTo>
                      <a:pt x="476" y="164"/>
                    </a:lnTo>
                    <a:lnTo>
                      <a:pt x="476" y="148"/>
                    </a:lnTo>
                    <a:lnTo>
                      <a:pt x="480" y="132"/>
                    </a:lnTo>
                    <a:lnTo>
                      <a:pt x="484" y="94"/>
                    </a:lnTo>
                    <a:lnTo>
                      <a:pt x="479" y="48"/>
                    </a:lnTo>
                    <a:lnTo>
                      <a:pt x="475" y="23"/>
                    </a:lnTo>
                    <a:lnTo>
                      <a:pt x="471" y="9"/>
                    </a:lnTo>
                    <a:lnTo>
                      <a:pt x="469" y="4"/>
                    </a:lnTo>
                    <a:lnTo>
                      <a:pt x="476" y="1"/>
                    </a:lnTo>
                    <a:lnTo>
                      <a:pt x="490" y="0"/>
                    </a:lnTo>
                    <a:lnTo>
                      <a:pt x="503" y="2"/>
                    </a:lnTo>
                    <a:lnTo>
                      <a:pt x="522" y="17"/>
                    </a:lnTo>
                    <a:lnTo>
                      <a:pt x="544" y="27"/>
                    </a:lnTo>
                    <a:lnTo>
                      <a:pt x="560" y="23"/>
                    </a:lnTo>
                    <a:lnTo>
                      <a:pt x="569" y="25"/>
                    </a:lnTo>
                    <a:lnTo>
                      <a:pt x="574" y="38"/>
                    </a:lnTo>
                    <a:lnTo>
                      <a:pt x="585" y="60"/>
                    </a:lnTo>
                    <a:lnTo>
                      <a:pt x="601" y="87"/>
                    </a:lnTo>
                    <a:lnTo>
                      <a:pt x="615" y="112"/>
                    </a:lnTo>
                    <a:lnTo>
                      <a:pt x="632" y="130"/>
                    </a:lnTo>
                    <a:lnTo>
                      <a:pt x="638" y="150"/>
                    </a:lnTo>
                    <a:lnTo>
                      <a:pt x="661" y="167"/>
                    </a:lnTo>
                    <a:lnTo>
                      <a:pt x="693" y="179"/>
                    </a:lnTo>
                    <a:lnTo>
                      <a:pt x="716" y="179"/>
                    </a:lnTo>
                    <a:lnTo>
                      <a:pt x="740" y="175"/>
                    </a:lnTo>
                    <a:lnTo>
                      <a:pt x="761" y="175"/>
                    </a:lnTo>
                    <a:lnTo>
                      <a:pt x="775" y="181"/>
                    </a:lnTo>
                    <a:lnTo>
                      <a:pt x="783" y="186"/>
                    </a:lnTo>
                    <a:lnTo>
                      <a:pt x="792" y="192"/>
                    </a:lnTo>
                    <a:lnTo>
                      <a:pt x="802" y="199"/>
                    </a:lnTo>
                    <a:lnTo>
                      <a:pt x="809" y="207"/>
                    </a:lnTo>
                    <a:lnTo>
                      <a:pt x="819" y="219"/>
                    </a:lnTo>
                    <a:lnTo>
                      <a:pt x="830" y="233"/>
                    </a:lnTo>
                    <a:lnTo>
                      <a:pt x="841" y="242"/>
                    </a:lnTo>
                    <a:lnTo>
                      <a:pt x="852" y="245"/>
                    </a:lnTo>
                    <a:lnTo>
                      <a:pt x="854" y="247"/>
                    </a:lnTo>
                    <a:close/>
                  </a:path>
                </a:pathLst>
              </a:custGeom>
              <a:solidFill>
                <a:srgbClr val="CCCCCC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468" name="Freeform 23"/>
              <p:cNvSpPr>
                <a:spLocks/>
              </p:cNvSpPr>
              <p:nvPr/>
            </p:nvSpPr>
            <p:spPr bwMode="auto">
              <a:xfrm>
                <a:off x="4189413" y="3148013"/>
                <a:ext cx="1546225" cy="2665413"/>
              </a:xfrm>
              <a:custGeom>
                <a:avLst/>
                <a:gdLst>
                  <a:gd name="T0" fmla="*/ 2147483646 w 974"/>
                  <a:gd name="T1" fmla="*/ 2147483646 h 1679"/>
                  <a:gd name="T2" fmla="*/ 2147483646 w 974"/>
                  <a:gd name="T3" fmla="*/ 2147483646 h 1679"/>
                  <a:gd name="T4" fmla="*/ 2147483646 w 974"/>
                  <a:gd name="T5" fmla="*/ 2147483646 h 1679"/>
                  <a:gd name="T6" fmla="*/ 2147483646 w 974"/>
                  <a:gd name="T7" fmla="*/ 2147483646 h 1679"/>
                  <a:gd name="T8" fmla="*/ 2147483646 w 974"/>
                  <a:gd name="T9" fmla="*/ 2147483646 h 1679"/>
                  <a:gd name="T10" fmla="*/ 2147483646 w 974"/>
                  <a:gd name="T11" fmla="*/ 2147483646 h 1679"/>
                  <a:gd name="T12" fmla="*/ 2147483646 w 974"/>
                  <a:gd name="T13" fmla="*/ 2147483646 h 1679"/>
                  <a:gd name="T14" fmla="*/ 2147483646 w 974"/>
                  <a:gd name="T15" fmla="*/ 2147483646 h 1679"/>
                  <a:gd name="T16" fmla="*/ 2147483646 w 974"/>
                  <a:gd name="T17" fmla="*/ 2147483646 h 1679"/>
                  <a:gd name="T18" fmla="*/ 2147483646 w 974"/>
                  <a:gd name="T19" fmla="*/ 2147483646 h 1679"/>
                  <a:gd name="T20" fmla="*/ 2147483646 w 974"/>
                  <a:gd name="T21" fmla="*/ 2147483646 h 1679"/>
                  <a:gd name="T22" fmla="*/ 2147483646 w 974"/>
                  <a:gd name="T23" fmla="*/ 2147483646 h 1679"/>
                  <a:gd name="T24" fmla="*/ 2147483646 w 974"/>
                  <a:gd name="T25" fmla="*/ 2147483646 h 1679"/>
                  <a:gd name="T26" fmla="*/ 2147483646 w 974"/>
                  <a:gd name="T27" fmla="*/ 2147483646 h 1679"/>
                  <a:gd name="T28" fmla="*/ 2147483646 w 974"/>
                  <a:gd name="T29" fmla="*/ 2147483646 h 1679"/>
                  <a:gd name="T30" fmla="*/ 2147483646 w 974"/>
                  <a:gd name="T31" fmla="*/ 2147483646 h 1679"/>
                  <a:gd name="T32" fmla="*/ 2147483646 w 974"/>
                  <a:gd name="T33" fmla="*/ 2147483646 h 1679"/>
                  <a:gd name="T34" fmla="*/ 2147483646 w 974"/>
                  <a:gd name="T35" fmla="*/ 2147483646 h 1679"/>
                  <a:gd name="T36" fmla="*/ 2147483646 w 974"/>
                  <a:gd name="T37" fmla="*/ 2147483646 h 1679"/>
                  <a:gd name="T38" fmla="*/ 2147483646 w 974"/>
                  <a:gd name="T39" fmla="*/ 2147483646 h 1679"/>
                  <a:gd name="T40" fmla="*/ 2147483646 w 974"/>
                  <a:gd name="T41" fmla="*/ 2147483646 h 1679"/>
                  <a:gd name="T42" fmla="*/ 2147483646 w 974"/>
                  <a:gd name="T43" fmla="*/ 2147483646 h 1679"/>
                  <a:gd name="T44" fmla="*/ 2147483646 w 974"/>
                  <a:gd name="T45" fmla="*/ 2147483646 h 1679"/>
                  <a:gd name="T46" fmla="*/ 2147483646 w 974"/>
                  <a:gd name="T47" fmla="*/ 2147483646 h 1679"/>
                  <a:gd name="T48" fmla="*/ 2147483646 w 974"/>
                  <a:gd name="T49" fmla="*/ 2147483646 h 1679"/>
                  <a:gd name="T50" fmla="*/ 2147483646 w 974"/>
                  <a:gd name="T51" fmla="*/ 2147483646 h 1679"/>
                  <a:gd name="T52" fmla="*/ 2147483646 w 974"/>
                  <a:gd name="T53" fmla="*/ 2147483646 h 1679"/>
                  <a:gd name="T54" fmla="*/ 2147483646 w 974"/>
                  <a:gd name="T55" fmla="*/ 2147483646 h 1679"/>
                  <a:gd name="T56" fmla="*/ 2147483646 w 974"/>
                  <a:gd name="T57" fmla="*/ 2147483646 h 1679"/>
                  <a:gd name="T58" fmla="*/ 2147483646 w 974"/>
                  <a:gd name="T59" fmla="*/ 2147483646 h 1679"/>
                  <a:gd name="T60" fmla="*/ 2147483646 w 974"/>
                  <a:gd name="T61" fmla="*/ 2147483646 h 1679"/>
                  <a:gd name="T62" fmla="*/ 2147483646 w 974"/>
                  <a:gd name="T63" fmla="*/ 2147483646 h 1679"/>
                  <a:gd name="T64" fmla="*/ 2147483646 w 974"/>
                  <a:gd name="T65" fmla="*/ 2147483646 h 1679"/>
                  <a:gd name="T66" fmla="*/ 2147483646 w 974"/>
                  <a:gd name="T67" fmla="*/ 2147483646 h 1679"/>
                  <a:gd name="T68" fmla="*/ 2147483646 w 974"/>
                  <a:gd name="T69" fmla="*/ 2147483646 h 1679"/>
                  <a:gd name="T70" fmla="*/ 2147483646 w 974"/>
                  <a:gd name="T71" fmla="*/ 2147483646 h 1679"/>
                  <a:gd name="T72" fmla="*/ 2147483646 w 974"/>
                  <a:gd name="T73" fmla="*/ 2147483646 h 1679"/>
                  <a:gd name="T74" fmla="*/ 2147483646 w 974"/>
                  <a:gd name="T75" fmla="*/ 2147483646 h 1679"/>
                  <a:gd name="T76" fmla="*/ 2147483646 w 974"/>
                  <a:gd name="T77" fmla="*/ 2147483646 h 1679"/>
                  <a:gd name="T78" fmla="*/ 2147483646 w 974"/>
                  <a:gd name="T79" fmla="*/ 2147483646 h 1679"/>
                  <a:gd name="T80" fmla="*/ 2147483646 w 974"/>
                  <a:gd name="T81" fmla="*/ 2147483646 h 1679"/>
                  <a:gd name="T82" fmla="*/ 2147483646 w 974"/>
                  <a:gd name="T83" fmla="*/ 2147483646 h 1679"/>
                  <a:gd name="T84" fmla="*/ 2147483646 w 974"/>
                  <a:gd name="T85" fmla="*/ 2147483646 h 1679"/>
                  <a:gd name="T86" fmla="*/ 2147483646 w 974"/>
                  <a:gd name="T87" fmla="*/ 2147483646 h 1679"/>
                  <a:gd name="T88" fmla="*/ 2147483646 w 974"/>
                  <a:gd name="T89" fmla="*/ 2147483646 h 1679"/>
                  <a:gd name="T90" fmla="*/ 2147483646 w 974"/>
                  <a:gd name="T91" fmla="*/ 2147483646 h 1679"/>
                  <a:gd name="T92" fmla="*/ 2147483646 w 974"/>
                  <a:gd name="T93" fmla="*/ 2147483646 h 1679"/>
                  <a:gd name="T94" fmla="*/ 2147483646 w 974"/>
                  <a:gd name="T95" fmla="*/ 2147483646 h 1679"/>
                  <a:gd name="T96" fmla="*/ 2147483646 w 974"/>
                  <a:gd name="T97" fmla="*/ 2147483646 h 1679"/>
                  <a:gd name="T98" fmla="*/ 2147483646 w 974"/>
                  <a:gd name="T99" fmla="*/ 2147483646 h 1679"/>
                  <a:gd name="T100" fmla="*/ 2147483646 w 974"/>
                  <a:gd name="T101" fmla="*/ 2147483646 h 1679"/>
                  <a:gd name="T102" fmla="*/ 2147483646 w 974"/>
                  <a:gd name="T103" fmla="*/ 2147483646 h 1679"/>
                  <a:gd name="T104" fmla="*/ 2147483646 w 974"/>
                  <a:gd name="T105" fmla="*/ 2147483646 h 167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974" h="1679">
                    <a:moveTo>
                      <a:pt x="958" y="324"/>
                    </a:moveTo>
                    <a:lnTo>
                      <a:pt x="960" y="329"/>
                    </a:lnTo>
                    <a:lnTo>
                      <a:pt x="964" y="343"/>
                    </a:lnTo>
                    <a:lnTo>
                      <a:pt x="968" y="368"/>
                    </a:lnTo>
                    <a:lnTo>
                      <a:pt x="973" y="414"/>
                    </a:lnTo>
                    <a:lnTo>
                      <a:pt x="969" y="452"/>
                    </a:lnTo>
                    <a:lnTo>
                      <a:pt x="965" y="468"/>
                    </a:lnTo>
                    <a:lnTo>
                      <a:pt x="965" y="484"/>
                    </a:lnTo>
                    <a:lnTo>
                      <a:pt x="971" y="518"/>
                    </a:lnTo>
                    <a:lnTo>
                      <a:pt x="974" y="554"/>
                    </a:lnTo>
                    <a:lnTo>
                      <a:pt x="967" y="573"/>
                    </a:lnTo>
                    <a:lnTo>
                      <a:pt x="962" y="583"/>
                    </a:lnTo>
                    <a:lnTo>
                      <a:pt x="964" y="599"/>
                    </a:lnTo>
                    <a:lnTo>
                      <a:pt x="967" y="614"/>
                    </a:lnTo>
                    <a:lnTo>
                      <a:pt x="973" y="624"/>
                    </a:lnTo>
                    <a:lnTo>
                      <a:pt x="971" y="639"/>
                    </a:lnTo>
                    <a:lnTo>
                      <a:pt x="959" y="650"/>
                    </a:lnTo>
                    <a:lnTo>
                      <a:pt x="945" y="656"/>
                    </a:lnTo>
                    <a:lnTo>
                      <a:pt x="928" y="655"/>
                    </a:lnTo>
                    <a:lnTo>
                      <a:pt x="915" y="655"/>
                    </a:lnTo>
                    <a:lnTo>
                      <a:pt x="921" y="669"/>
                    </a:lnTo>
                    <a:lnTo>
                      <a:pt x="925" y="699"/>
                    </a:lnTo>
                    <a:lnTo>
                      <a:pt x="924" y="728"/>
                    </a:lnTo>
                    <a:lnTo>
                      <a:pt x="928" y="743"/>
                    </a:lnTo>
                    <a:lnTo>
                      <a:pt x="931" y="753"/>
                    </a:lnTo>
                    <a:lnTo>
                      <a:pt x="930" y="764"/>
                    </a:lnTo>
                    <a:lnTo>
                      <a:pt x="929" y="776"/>
                    </a:lnTo>
                    <a:lnTo>
                      <a:pt x="926" y="789"/>
                    </a:lnTo>
                    <a:lnTo>
                      <a:pt x="918" y="803"/>
                    </a:lnTo>
                    <a:lnTo>
                      <a:pt x="912" y="812"/>
                    </a:lnTo>
                    <a:lnTo>
                      <a:pt x="910" y="819"/>
                    </a:lnTo>
                    <a:lnTo>
                      <a:pt x="905" y="828"/>
                    </a:lnTo>
                    <a:lnTo>
                      <a:pt x="905" y="838"/>
                    </a:lnTo>
                    <a:lnTo>
                      <a:pt x="898" y="858"/>
                    </a:lnTo>
                    <a:lnTo>
                      <a:pt x="888" y="880"/>
                    </a:lnTo>
                    <a:lnTo>
                      <a:pt x="886" y="894"/>
                    </a:lnTo>
                    <a:lnTo>
                      <a:pt x="889" y="903"/>
                    </a:lnTo>
                    <a:lnTo>
                      <a:pt x="894" y="922"/>
                    </a:lnTo>
                    <a:lnTo>
                      <a:pt x="895" y="940"/>
                    </a:lnTo>
                    <a:lnTo>
                      <a:pt x="885" y="946"/>
                    </a:lnTo>
                    <a:lnTo>
                      <a:pt x="872" y="956"/>
                    </a:lnTo>
                    <a:lnTo>
                      <a:pt x="864" y="960"/>
                    </a:lnTo>
                    <a:lnTo>
                      <a:pt x="854" y="964"/>
                    </a:lnTo>
                    <a:lnTo>
                      <a:pt x="845" y="967"/>
                    </a:lnTo>
                    <a:lnTo>
                      <a:pt x="838" y="965"/>
                    </a:lnTo>
                    <a:lnTo>
                      <a:pt x="831" y="961"/>
                    </a:lnTo>
                    <a:lnTo>
                      <a:pt x="826" y="970"/>
                    </a:lnTo>
                    <a:lnTo>
                      <a:pt x="819" y="978"/>
                    </a:lnTo>
                    <a:lnTo>
                      <a:pt x="804" y="989"/>
                    </a:lnTo>
                    <a:lnTo>
                      <a:pt x="791" y="1002"/>
                    </a:lnTo>
                    <a:lnTo>
                      <a:pt x="775" y="1013"/>
                    </a:lnTo>
                    <a:lnTo>
                      <a:pt x="745" y="1039"/>
                    </a:lnTo>
                    <a:lnTo>
                      <a:pt x="727" y="1059"/>
                    </a:lnTo>
                    <a:lnTo>
                      <a:pt x="720" y="1058"/>
                    </a:lnTo>
                    <a:lnTo>
                      <a:pt x="706" y="1059"/>
                    </a:lnTo>
                    <a:lnTo>
                      <a:pt x="686" y="1059"/>
                    </a:lnTo>
                    <a:lnTo>
                      <a:pt x="662" y="1064"/>
                    </a:lnTo>
                    <a:lnTo>
                      <a:pt x="639" y="1084"/>
                    </a:lnTo>
                    <a:lnTo>
                      <a:pt x="624" y="1091"/>
                    </a:lnTo>
                    <a:lnTo>
                      <a:pt x="611" y="1086"/>
                    </a:lnTo>
                    <a:lnTo>
                      <a:pt x="594" y="1090"/>
                    </a:lnTo>
                    <a:lnTo>
                      <a:pt x="575" y="1100"/>
                    </a:lnTo>
                    <a:lnTo>
                      <a:pt x="563" y="1116"/>
                    </a:lnTo>
                    <a:lnTo>
                      <a:pt x="560" y="1135"/>
                    </a:lnTo>
                    <a:lnTo>
                      <a:pt x="568" y="1158"/>
                    </a:lnTo>
                    <a:lnTo>
                      <a:pt x="576" y="1177"/>
                    </a:lnTo>
                    <a:lnTo>
                      <a:pt x="575" y="1190"/>
                    </a:lnTo>
                    <a:lnTo>
                      <a:pt x="562" y="1211"/>
                    </a:lnTo>
                    <a:lnTo>
                      <a:pt x="553" y="1230"/>
                    </a:lnTo>
                    <a:lnTo>
                      <a:pt x="556" y="1242"/>
                    </a:lnTo>
                    <a:lnTo>
                      <a:pt x="560" y="1259"/>
                    </a:lnTo>
                    <a:lnTo>
                      <a:pt x="555" y="1270"/>
                    </a:lnTo>
                    <a:lnTo>
                      <a:pt x="531" y="1287"/>
                    </a:lnTo>
                    <a:lnTo>
                      <a:pt x="505" y="1302"/>
                    </a:lnTo>
                    <a:lnTo>
                      <a:pt x="495" y="1319"/>
                    </a:lnTo>
                    <a:lnTo>
                      <a:pt x="489" y="1337"/>
                    </a:lnTo>
                    <a:lnTo>
                      <a:pt x="490" y="1346"/>
                    </a:lnTo>
                    <a:lnTo>
                      <a:pt x="505" y="1356"/>
                    </a:lnTo>
                    <a:lnTo>
                      <a:pt x="527" y="1364"/>
                    </a:lnTo>
                    <a:lnTo>
                      <a:pt x="542" y="1372"/>
                    </a:lnTo>
                    <a:lnTo>
                      <a:pt x="553" y="1387"/>
                    </a:lnTo>
                    <a:lnTo>
                      <a:pt x="555" y="1408"/>
                    </a:lnTo>
                    <a:lnTo>
                      <a:pt x="562" y="1426"/>
                    </a:lnTo>
                    <a:lnTo>
                      <a:pt x="571" y="1438"/>
                    </a:lnTo>
                    <a:lnTo>
                      <a:pt x="577" y="1452"/>
                    </a:lnTo>
                    <a:lnTo>
                      <a:pt x="582" y="1461"/>
                    </a:lnTo>
                    <a:lnTo>
                      <a:pt x="580" y="1475"/>
                    </a:lnTo>
                    <a:lnTo>
                      <a:pt x="578" y="1487"/>
                    </a:lnTo>
                    <a:lnTo>
                      <a:pt x="580" y="1497"/>
                    </a:lnTo>
                    <a:lnTo>
                      <a:pt x="585" y="1507"/>
                    </a:lnTo>
                    <a:lnTo>
                      <a:pt x="599" y="1531"/>
                    </a:lnTo>
                    <a:lnTo>
                      <a:pt x="596" y="1580"/>
                    </a:lnTo>
                    <a:lnTo>
                      <a:pt x="578" y="1615"/>
                    </a:lnTo>
                    <a:lnTo>
                      <a:pt x="568" y="1622"/>
                    </a:lnTo>
                    <a:lnTo>
                      <a:pt x="562" y="1623"/>
                    </a:lnTo>
                    <a:lnTo>
                      <a:pt x="539" y="1637"/>
                    </a:lnTo>
                    <a:lnTo>
                      <a:pt x="535" y="1618"/>
                    </a:lnTo>
                    <a:lnTo>
                      <a:pt x="537" y="1602"/>
                    </a:lnTo>
                    <a:lnTo>
                      <a:pt x="537" y="1596"/>
                    </a:lnTo>
                    <a:lnTo>
                      <a:pt x="521" y="1583"/>
                    </a:lnTo>
                    <a:lnTo>
                      <a:pt x="499" y="1569"/>
                    </a:lnTo>
                    <a:lnTo>
                      <a:pt x="475" y="1562"/>
                    </a:lnTo>
                    <a:lnTo>
                      <a:pt x="424" y="1555"/>
                    </a:lnTo>
                    <a:lnTo>
                      <a:pt x="398" y="1545"/>
                    </a:lnTo>
                    <a:lnTo>
                      <a:pt x="325" y="1508"/>
                    </a:lnTo>
                    <a:lnTo>
                      <a:pt x="306" y="1505"/>
                    </a:lnTo>
                    <a:lnTo>
                      <a:pt x="236" y="1511"/>
                    </a:lnTo>
                    <a:lnTo>
                      <a:pt x="210" y="1541"/>
                    </a:lnTo>
                    <a:lnTo>
                      <a:pt x="189" y="1679"/>
                    </a:lnTo>
                    <a:lnTo>
                      <a:pt x="170" y="1654"/>
                    </a:lnTo>
                    <a:lnTo>
                      <a:pt x="146" y="1641"/>
                    </a:lnTo>
                    <a:lnTo>
                      <a:pt x="111" y="1637"/>
                    </a:lnTo>
                    <a:lnTo>
                      <a:pt x="94" y="1629"/>
                    </a:lnTo>
                    <a:lnTo>
                      <a:pt x="50" y="1596"/>
                    </a:lnTo>
                    <a:lnTo>
                      <a:pt x="41" y="1584"/>
                    </a:lnTo>
                    <a:lnTo>
                      <a:pt x="49" y="1479"/>
                    </a:lnTo>
                    <a:lnTo>
                      <a:pt x="41" y="1448"/>
                    </a:lnTo>
                    <a:lnTo>
                      <a:pt x="28" y="1434"/>
                    </a:lnTo>
                    <a:lnTo>
                      <a:pt x="15" y="1426"/>
                    </a:lnTo>
                    <a:lnTo>
                      <a:pt x="5" y="1417"/>
                    </a:lnTo>
                    <a:lnTo>
                      <a:pt x="0" y="1400"/>
                    </a:lnTo>
                    <a:lnTo>
                      <a:pt x="5" y="1382"/>
                    </a:lnTo>
                    <a:lnTo>
                      <a:pt x="26" y="1361"/>
                    </a:lnTo>
                    <a:lnTo>
                      <a:pt x="21" y="1344"/>
                    </a:lnTo>
                    <a:lnTo>
                      <a:pt x="36" y="1323"/>
                    </a:lnTo>
                    <a:lnTo>
                      <a:pt x="44" y="1287"/>
                    </a:lnTo>
                    <a:lnTo>
                      <a:pt x="57" y="1251"/>
                    </a:lnTo>
                    <a:lnTo>
                      <a:pt x="80" y="1226"/>
                    </a:lnTo>
                    <a:lnTo>
                      <a:pt x="133" y="1204"/>
                    </a:lnTo>
                    <a:lnTo>
                      <a:pt x="155" y="1185"/>
                    </a:lnTo>
                    <a:lnTo>
                      <a:pt x="160" y="1179"/>
                    </a:lnTo>
                    <a:lnTo>
                      <a:pt x="163" y="1177"/>
                    </a:lnTo>
                    <a:lnTo>
                      <a:pt x="167" y="1175"/>
                    </a:lnTo>
                    <a:lnTo>
                      <a:pt x="171" y="1165"/>
                    </a:lnTo>
                    <a:lnTo>
                      <a:pt x="187" y="1101"/>
                    </a:lnTo>
                    <a:lnTo>
                      <a:pt x="194" y="1088"/>
                    </a:lnTo>
                    <a:lnTo>
                      <a:pt x="205" y="1081"/>
                    </a:lnTo>
                    <a:lnTo>
                      <a:pt x="227" y="1091"/>
                    </a:lnTo>
                    <a:lnTo>
                      <a:pt x="233" y="1121"/>
                    </a:lnTo>
                    <a:lnTo>
                      <a:pt x="234" y="1156"/>
                    </a:lnTo>
                    <a:lnTo>
                      <a:pt x="245" y="1176"/>
                    </a:lnTo>
                    <a:lnTo>
                      <a:pt x="234" y="1205"/>
                    </a:lnTo>
                    <a:lnTo>
                      <a:pt x="221" y="1232"/>
                    </a:lnTo>
                    <a:lnTo>
                      <a:pt x="240" y="1218"/>
                    </a:lnTo>
                    <a:lnTo>
                      <a:pt x="248" y="1197"/>
                    </a:lnTo>
                    <a:lnTo>
                      <a:pt x="255" y="1174"/>
                    </a:lnTo>
                    <a:lnTo>
                      <a:pt x="265" y="1153"/>
                    </a:lnTo>
                    <a:lnTo>
                      <a:pt x="268" y="1144"/>
                    </a:lnTo>
                    <a:lnTo>
                      <a:pt x="268" y="1126"/>
                    </a:lnTo>
                    <a:lnTo>
                      <a:pt x="270" y="1119"/>
                    </a:lnTo>
                    <a:lnTo>
                      <a:pt x="275" y="1118"/>
                    </a:lnTo>
                    <a:lnTo>
                      <a:pt x="282" y="1119"/>
                    </a:lnTo>
                    <a:lnTo>
                      <a:pt x="288" y="1122"/>
                    </a:lnTo>
                    <a:lnTo>
                      <a:pt x="286" y="1129"/>
                    </a:lnTo>
                    <a:lnTo>
                      <a:pt x="302" y="1109"/>
                    </a:lnTo>
                    <a:lnTo>
                      <a:pt x="306" y="1098"/>
                    </a:lnTo>
                    <a:lnTo>
                      <a:pt x="311" y="1081"/>
                    </a:lnTo>
                    <a:lnTo>
                      <a:pt x="319" y="1081"/>
                    </a:lnTo>
                    <a:lnTo>
                      <a:pt x="318" y="1099"/>
                    </a:lnTo>
                    <a:lnTo>
                      <a:pt x="313" y="1121"/>
                    </a:lnTo>
                    <a:lnTo>
                      <a:pt x="311" y="1137"/>
                    </a:lnTo>
                    <a:lnTo>
                      <a:pt x="360" y="1025"/>
                    </a:lnTo>
                    <a:lnTo>
                      <a:pt x="375" y="1037"/>
                    </a:lnTo>
                    <a:lnTo>
                      <a:pt x="392" y="1042"/>
                    </a:lnTo>
                    <a:lnTo>
                      <a:pt x="405" y="1035"/>
                    </a:lnTo>
                    <a:lnTo>
                      <a:pt x="410" y="1015"/>
                    </a:lnTo>
                    <a:lnTo>
                      <a:pt x="402" y="1022"/>
                    </a:lnTo>
                    <a:lnTo>
                      <a:pt x="393" y="1025"/>
                    </a:lnTo>
                    <a:lnTo>
                      <a:pt x="386" y="998"/>
                    </a:lnTo>
                    <a:lnTo>
                      <a:pt x="390" y="972"/>
                    </a:lnTo>
                    <a:lnTo>
                      <a:pt x="403" y="957"/>
                    </a:lnTo>
                    <a:lnTo>
                      <a:pt x="426" y="960"/>
                    </a:lnTo>
                    <a:lnTo>
                      <a:pt x="418" y="921"/>
                    </a:lnTo>
                    <a:lnTo>
                      <a:pt x="439" y="895"/>
                    </a:lnTo>
                    <a:lnTo>
                      <a:pt x="473" y="893"/>
                    </a:lnTo>
                    <a:lnTo>
                      <a:pt x="499" y="922"/>
                    </a:lnTo>
                    <a:lnTo>
                      <a:pt x="496" y="898"/>
                    </a:lnTo>
                    <a:lnTo>
                      <a:pt x="485" y="886"/>
                    </a:lnTo>
                    <a:lnTo>
                      <a:pt x="473" y="877"/>
                    </a:lnTo>
                    <a:lnTo>
                      <a:pt x="467" y="870"/>
                    </a:lnTo>
                    <a:lnTo>
                      <a:pt x="468" y="826"/>
                    </a:lnTo>
                    <a:lnTo>
                      <a:pt x="475" y="810"/>
                    </a:lnTo>
                    <a:lnTo>
                      <a:pt x="491" y="799"/>
                    </a:lnTo>
                    <a:lnTo>
                      <a:pt x="487" y="837"/>
                    </a:lnTo>
                    <a:lnTo>
                      <a:pt x="485" y="852"/>
                    </a:lnTo>
                    <a:lnTo>
                      <a:pt x="491" y="865"/>
                    </a:lnTo>
                    <a:lnTo>
                      <a:pt x="499" y="865"/>
                    </a:lnTo>
                    <a:lnTo>
                      <a:pt x="503" y="825"/>
                    </a:lnTo>
                    <a:lnTo>
                      <a:pt x="507" y="803"/>
                    </a:lnTo>
                    <a:lnTo>
                      <a:pt x="516" y="790"/>
                    </a:lnTo>
                    <a:lnTo>
                      <a:pt x="526" y="789"/>
                    </a:lnTo>
                    <a:lnTo>
                      <a:pt x="535" y="798"/>
                    </a:lnTo>
                    <a:lnTo>
                      <a:pt x="548" y="828"/>
                    </a:lnTo>
                    <a:lnTo>
                      <a:pt x="555" y="814"/>
                    </a:lnTo>
                    <a:lnTo>
                      <a:pt x="556" y="799"/>
                    </a:lnTo>
                    <a:lnTo>
                      <a:pt x="554" y="785"/>
                    </a:lnTo>
                    <a:lnTo>
                      <a:pt x="548" y="771"/>
                    </a:lnTo>
                    <a:lnTo>
                      <a:pt x="561" y="768"/>
                    </a:lnTo>
                    <a:lnTo>
                      <a:pt x="569" y="760"/>
                    </a:lnTo>
                    <a:lnTo>
                      <a:pt x="577" y="751"/>
                    </a:lnTo>
                    <a:lnTo>
                      <a:pt x="589" y="743"/>
                    </a:lnTo>
                    <a:lnTo>
                      <a:pt x="590" y="750"/>
                    </a:lnTo>
                    <a:lnTo>
                      <a:pt x="596" y="760"/>
                    </a:lnTo>
                    <a:lnTo>
                      <a:pt x="603" y="760"/>
                    </a:lnTo>
                    <a:lnTo>
                      <a:pt x="606" y="739"/>
                    </a:lnTo>
                    <a:lnTo>
                      <a:pt x="601" y="719"/>
                    </a:lnTo>
                    <a:lnTo>
                      <a:pt x="592" y="698"/>
                    </a:lnTo>
                    <a:lnTo>
                      <a:pt x="585" y="674"/>
                    </a:lnTo>
                    <a:lnTo>
                      <a:pt x="589" y="649"/>
                    </a:lnTo>
                    <a:lnTo>
                      <a:pt x="575" y="658"/>
                    </a:lnTo>
                    <a:lnTo>
                      <a:pt x="568" y="650"/>
                    </a:lnTo>
                    <a:lnTo>
                      <a:pt x="556" y="621"/>
                    </a:lnTo>
                    <a:lnTo>
                      <a:pt x="555" y="614"/>
                    </a:lnTo>
                    <a:lnTo>
                      <a:pt x="551" y="597"/>
                    </a:lnTo>
                    <a:lnTo>
                      <a:pt x="544" y="587"/>
                    </a:lnTo>
                    <a:lnTo>
                      <a:pt x="541" y="597"/>
                    </a:lnTo>
                    <a:lnTo>
                      <a:pt x="512" y="564"/>
                    </a:lnTo>
                    <a:lnTo>
                      <a:pt x="502" y="534"/>
                    </a:lnTo>
                    <a:lnTo>
                      <a:pt x="516" y="508"/>
                    </a:lnTo>
                    <a:lnTo>
                      <a:pt x="506" y="482"/>
                    </a:lnTo>
                    <a:lnTo>
                      <a:pt x="503" y="413"/>
                    </a:lnTo>
                    <a:lnTo>
                      <a:pt x="484" y="386"/>
                    </a:lnTo>
                    <a:lnTo>
                      <a:pt x="496" y="370"/>
                    </a:lnTo>
                    <a:lnTo>
                      <a:pt x="498" y="352"/>
                    </a:lnTo>
                    <a:lnTo>
                      <a:pt x="497" y="334"/>
                    </a:lnTo>
                    <a:lnTo>
                      <a:pt x="492" y="320"/>
                    </a:lnTo>
                    <a:lnTo>
                      <a:pt x="488" y="315"/>
                    </a:lnTo>
                    <a:lnTo>
                      <a:pt x="471" y="309"/>
                    </a:lnTo>
                    <a:lnTo>
                      <a:pt x="468" y="306"/>
                    </a:lnTo>
                    <a:lnTo>
                      <a:pt x="470" y="298"/>
                    </a:lnTo>
                    <a:lnTo>
                      <a:pt x="475" y="289"/>
                    </a:lnTo>
                    <a:lnTo>
                      <a:pt x="478" y="281"/>
                    </a:lnTo>
                    <a:lnTo>
                      <a:pt x="476" y="273"/>
                    </a:lnTo>
                    <a:lnTo>
                      <a:pt x="467" y="265"/>
                    </a:lnTo>
                    <a:lnTo>
                      <a:pt x="437" y="252"/>
                    </a:lnTo>
                    <a:lnTo>
                      <a:pt x="452" y="221"/>
                    </a:lnTo>
                    <a:lnTo>
                      <a:pt x="466" y="196"/>
                    </a:lnTo>
                    <a:lnTo>
                      <a:pt x="524" y="141"/>
                    </a:lnTo>
                    <a:lnTo>
                      <a:pt x="535" y="124"/>
                    </a:lnTo>
                    <a:lnTo>
                      <a:pt x="568" y="47"/>
                    </a:lnTo>
                    <a:lnTo>
                      <a:pt x="582" y="26"/>
                    </a:lnTo>
                    <a:lnTo>
                      <a:pt x="601" y="17"/>
                    </a:lnTo>
                    <a:lnTo>
                      <a:pt x="693" y="13"/>
                    </a:lnTo>
                    <a:lnTo>
                      <a:pt x="695" y="12"/>
                    </a:lnTo>
                    <a:lnTo>
                      <a:pt x="698" y="10"/>
                    </a:lnTo>
                    <a:lnTo>
                      <a:pt x="701" y="7"/>
                    </a:lnTo>
                    <a:lnTo>
                      <a:pt x="704" y="0"/>
                    </a:lnTo>
                    <a:lnTo>
                      <a:pt x="710" y="8"/>
                    </a:lnTo>
                    <a:lnTo>
                      <a:pt x="731" y="42"/>
                    </a:lnTo>
                    <a:lnTo>
                      <a:pt x="760" y="81"/>
                    </a:lnTo>
                    <a:lnTo>
                      <a:pt x="786" y="91"/>
                    </a:lnTo>
                    <a:lnTo>
                      <a:pt x="808" y="99"/>
                    </a:lnTo>
                    <a:lnTo>
                      <a:pt x="817" y="99"/>
                    </a:lnTo>
                    <a:lnTo>
                      <a:pt x="825" y="96"/>
                    </a:lnTo>
                    <a:lnTo>
                      <a:pt x="830" y="98"/>
                    </a:lnTo>
                    <a:lnTo>
                      <a:pt x="837" y="101"/>
                    </a:lnTo>
                    <a:lnTo>
                      <a:pt x="855" y="111"/>
                    </a:lnTo>
                    <a:lnTo>
                      <a:pt x="878" y="124"/>
                    </a:lnTo>
                    <a:lnTo>
                      <a:pt x="902" y="123"/>
                    </a:lnTo>
                    <a:lnTo>
                      <a:pt x="925" y="125"/>
                    </a:lnTo>
                    <a:lnTo>
                      <a:pt x="931" y="166"/>
                    </a:lnTo>
                    <a:lnTo>
                      <a:pt x="932" y="222"/>
                    </a:lnTo>
                    <a:lnTo>
                      <a:pt x="931" y="263"/>
                    </a:lnTo>
                    <a:lnTo>
                      <a:pt x="930" y="292"/>
                    </a:lnTo>
                    <a:lnTo>
                      <a:pt x="945" y="313"/>
                    </a:lnTo>
                    <a:lnTo>
                      <a:pt x="958" y="324"/>
                    </a:lnTo>
                    <a:close/>
                  </a:path>
                </a:pathLst>
              </a:custGeom>
              <a:solidFill>
                <a:srgbClr val="CCCCCC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469" name="Freeform 24"/>
              <p:cNvSpPr>
                <a:spLocks/>
              </p:cNvSpPr>
              <p:nvPr/>
            </p:nvSpPr>
            <p:spPr bwMode="auto">
              <a:xfrm>
                <a:off x="6273800" y="2197100"/>
                <a:ext cx="1765299" cy="2987675"/>
              </a:xfrm>
              <a:custGeom>
                <a:avLst/>
                <a:gdLst>
                  <a:gd name="T0" fmla="*/ 2147483646 w 1112"/>
                  <a:gd name="T1" fmla="*/ 2147483646 h 1882"/>
                  <a:gd name="T2" fmla="*/ 2147483646 w 1112"/>
                  <a:gd name="T3" fmla="*/ 2147483646 h 1882"/>
                  <a:gd name="T4" fmla="*/ 2147483646 w 1112"/>
                  <a:gd name="T5" fmla="*/ 2147483646 h 1882"/>
                  <a:gd name="T6" fmla="*/ 2147483646 w 1112"/>
                  <a:gd name="T7" fmla="*/ 2147483646 h 1882"/>
                  <a:gd name="T8" fmla="*/ 2147483646 w 1112"/>
                  <a:gd name="T9" fmla="*/ 2147483646 h 1882"/>
                  <a:gd name="T10" fmla="*/ 2147483646 w 1112"/>
                  <a:gd name="T11" fmla="*/ 2147483646 h 1882"/>
                  <a:gd name="T12" fmla="*/ 2147483646 w 1112"/>
                  <a:gd name="T13" fmla="*/ 2147483646 h 1882"/>
                  <a:gd name="T14" fmla="*/ 2147483646 w 1112"/>
                  <a:gd name="T15" fmla="*/ 2147483646 h 1882"/>
                  <a:gd name="T16" fmla="*/ 2147483646 w 1112"/>
                  <a:gd name="T17" fmla="*/ 2147483646 h 1882"/>
                  <a:gd name="T18" fmla="*/ 2147483646 w 1112"/>
                  <a:gd name="T19" fmla="*/ 2147483646 h 1882"/>
                  <a:gd name="T20" fmla="*/ 2147483646 w 1112"/>
                  <a:gd name="T21" fmla="*/ 2147483646 h 1882"/>
                  <a:gd name="T22" fmla="*/ 2147483646 w 1112"/>
                  <a:gd name="T23" fmla="*/ 2147483646 h 1882"/>
                  <a:gd name="T24" fmla="*/ 2147483646 w 1112"/>
                  <a:gd name="T25" fmla="*/ 2147483646 h 1882"/>
                  <a:gd name="T26" fmla="*/ 2147483646 w 1112"/>
                  <a:gd name="T27" fmla="*/ 2147483646 h 1882"/>
                  <a:gd name="T28" fmla="*/ 2147483646 w 1112"/>
                  <a:gd name="T29" fmla="*/ 2147483646 h 1882"/>
                  <a:gd name="T30" fmla="*/ 2147483646 w 1112"/>
                  <a:gd name="T31" fmla="*/ 2147483646 h 1882"/>
                  <a:gd name="T32" fmla="*/ 2147483646 w 1112"/>
                  <a:gd name="T33" fmla="*/ 2147483646 h 1882"/>
                  <a:gd name="T34" fmla="*/ 2147483646 w 1112"/>
                  <a:gd name="T35" fmla="*/ 2147483646 h 1882"/>
                  <a:gd name="T36" fmla="*/ 2147483646 w 1112"/>
                  <a:gd name="T37" fmla="*/ 2147483646 h 1882"/>
                  <a:gd name="T38" fmla="*/ 2147483646 w 1112"/>
                  <a:gd name="T39" fmla="*/ 2147483646 h 1882"/>
                  <a:gd name="T40" fmla="*/ 2147483646 w 1112"/>
                  <a:gd name="T41" fmla="*/ 2147483646 h 1882"/>
                  <a:gd name="T42" fmla="*/ 2147483646 w 1112"/>
                  <a:gd name="T43" fmla="*/ 2147483646 h 1882"/>
                  <a:gd name="T44" fmla="*/ 2147483646 w 1112"/>
                  <a:gd name="T45" fmla="*/ 2147483646 h 1882"/>
                  <a:gd name="T46" fmla="*/ 2147483646 w 1112"/>
                  <a:gd name="T47" fmla="*/ 2147483646 h 1882"/>
                  <a:gd name="T48" fmla="*/ 2147483646 w 1112"/>
                  <a:gd name="T49" fmla="*/ 2147483646 h 1882"/>
                  <a:gd name="T50" fmla="*/ 2147483646 w 1112"/>
                  <a:gd name="T51" fmla="*/ 2147483646 h 1882"/>
                  <a:gd name="T52" fmla="*/ 2147483646 w 1112"/>
                  <a:gd name="T53" fmla="*/ 2147483646 h 1882"/>
                  <a:gd name="T54" fmla="*/ 2147483646 w 1112"/>
                  <a:gd name="T55" fmla="*/ 2147483646 h 1882"/>
                  <a:gd name="T56" fmla="*/ 2147483646 w 1112"/>
                  <a:gd name="T57" fmla="*/ 2147483646 h 1882"/>
                  <a:gd name="T58" fmla="*/ 2147483646 w 1112"/>
                  <a:gd name="T59" fmla="*/ 2147483646 h 1882"/>
                  <a:gd name="T60" fmla="*/ 2147483646 w 1112"/>
                  <a:gd name="T61" fmla="*/ 2147483646 h 1882"/>
                  <a:gd name="T62" fmla="*/ 2147483646 w 1112"/>
                  <a:gd name="T63" fmla="*/ 2147483646 h 1882"/>
                  <a:gd name="T64" fmla="*/ 2147483646 w 1112"/>
                  <a:gd name="T65" fmla="*/ 2147483646 h 1882"/>
                  <a:gd name="T66" fmla="*/ 2147483646 w 1112"/>
                  <a:gd name="T67" fmla="*/ 2147483646 h 1882"/>
                  <a:gd name="T68" fmla="*/ 2147483646 w 1112"/>
                  <a:gd name="T69" fmla="*/ 2147483646 h 1882"/>
                  <a:gd name="T70" fmla="*/ 2147483646 w 1112"/>
                  <a:gd name="T71" fmla="*/ 2147483646 h 1882"/>
                  <a:gd name="T72" fmla="*/ 2147483646 w 1112"/>
                  <a:gd name="T73" fmla="*/ 2147483646 h 1882"/>
                  <a:gd name="T74" fmla="*/ 2147483646 w 1112"/>
                  <a:gd name="T75" fmla="*/ 2147483646 h 1882"/>
                  <a:gd name="T76" fmla="*/ 2147483646 w 1112"/>
                  <a:gd name="T77" fmla="*/ 2147483646 h 1882"/>
                  <a:gd name="T78" fmla="*/ 2147483646 w 1112"/>
                  <a:gd name="T79" fmla="*/ 2147483646 h 1882"/>
                  <a:gd name="T80" fmla="*/ 2147483646 w 1112"/>
                  <a:gd name="T81" fmla="*/ 2147483646 h 1882"/>
                  <a:gd name="T82" fmla="*/ 2147483646 w 1112"/>
                  <a:gd name="T83" fmla="*/ 2147483646 h 1882"/>
                  <a:gd name="T84" fmla="*/ 2147483646 w 1112"/>
                  <a:gd name="T85" fmla="*/ 2147483646 h 1882"/>
                  <a:gd name="T86" fmla="*/ 2147483646 w 1112"/>
                  <a:gd name="T87" fmla="*/ 2147483646 h 1882"/>
                  <a:gd name="T88" fmla="*/ 2147483646 w 1112"/>
                  <a:gd name="T89" fmla="*/ 2147483646 h 1882"/>
                  <a:gd name="T90" fmla="*/ 2147483646 w 1112"/>
                  <a:gd name="T91" fmla="*/ 2147483646 h 1882"/>
                  <a:gd name="T92" fmla="*/ 2147483646 w 1112"/>
                  <a:gd name="T93" fmla="*/ 2147483646 h 1882"/>
                  <a:gd name="T94" fmla="*/ 2147483646 w 1112"/>
                  <a:gd name="T95" fmla="*/ 2147483646 h 1882"/>
                  <a:gd name="T96" fmla="*/ 2147483646 w 1112"/>
                  <a:gd name="T97" fmla="*/ 2147483646 h 1882"/>
                  <a:gd name="T98" fmla="*/ 2147483646 w 1112"/>
                  <a:gd name="T99" fmla="*/ 2147483646 h 1882"/>
                  <a:gd name="T100" fmla="*/ 2147483646 w 1112"/>
                  <a:gd name="T101" fmla="*/ 2147483646 h 1882"/>
                  <a:gd name="T102" fmla="*/ 2147483646 w 1112"/>
                  <a:gd name="T103" fmla="*/ 2147483646 h 1882"/>
                  <a:gd name="T104" fmla="*/ 2147483646 w 1112"/>
                  <a:gd name="T105" fmla="*/ 2147483646 h 188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1112" h="1882">
                    <a:moveTo>
                      <a:pt x="606" y="5"/>
                    </a:moveTo>
                    <a:lnTo>
                      <a:pt x="619" y="10"/>
                    </a:lnTo>
                    <a:lnTo>
                      <a:pt x="609" y="22"/>
                    </a:lnTo>
                    <a:lnTo>
                      <a:pt x="600" y="37"/>
                    </a:lnTo>
                    <a:lnTo>
                      <a:pt x="597" y="52"/>
                    </a:lnTo>
                    <a:lnTo>
                      <a:pt x="600" y="67"/>
                    </a:lnTo>
                    <a:lnTo>
                      <a:pt x="618" y="81"/>
                    </a:lnTo>
                    <a:lnTo>
                      <a:pt x="621" y="100"/>
                    </a:lnTo>
                    <a:lnTo>
                      <a:pt x="619" y="108"/>
                    </a:lnTo>
                    <a:lnTo>
                      <a:pt x="614" y="115"/>
                    </a:lnTo>
                    <a:lnTo>
                      <a:pt x="611" y="123"/>
                    </a:lnTo>
                    <a:lnTo>
                      <a:pt x="613" y="131"/>
                    </a:lnTo>
                    <a:lnTo>
                      <a:pt x="623" y="140"/>
                    </a:lnTo>
                    <a:lnTo>
                      <a:pt x="633" y="138"/>
                    </a:lnTo>
                    <a:lnTo>
                      <a:pt x="641" y="134"/>
                    </a:lnTo>
                    <a:lnTo>
                      <a:pt x="646" y="131"/>
                    </a:lnTo>
                    <a:lnTo>
                      <a:pt x="661" y="144"/>
                    </a:lnTo>
                    <a:lnTo>
                      <a:pt x="665" y="152"/>
                    </a:lnTo>
                    <a:lnTo>
                      <a:pt x="670" y="189"/>
                    </a:lnTo>
                    <a:lnTo>
                      <a:pt x="677" y="208"/>
                    </a:lnTo>
                    <a:lnTo>
                      <a:pt x="699" y="249"/>
                    </a:lnTo>
                    <a:lnTo>
                      <a:pt x="706" y="277"/>
                    </a:lnTo>
                    <a:lnTo>
                      <a:pt x="717" y="295"/>
                    </a:lnTo>
                    <a:lnTo>
                      <a:pt x="719" y="305"/>
                    </a:lnTo>
                    <a:lnTo>
                      <a:pt x="718" y="310"/>
                    </a:lnTo>
                    <a:lnTo>
                      <a:pt x="715" y="316"/>
                    </a:lnTo>
                    <a:lnTo>
                      <a:pt x="713" y="324"/>
                    </a:lnTo>
                    <a:lnTo>
                      <a:pt x="712" y="334"/>
                    </a:lnTo>
                    <a:lnTo>
                      <a:pt x="718" y="357"/>
                    </a:lnTo>
                    <a:lnTo>
                      <a:pt x="733" y="369"/>
                    </a:lnTo>
                    <a:lnTo>
                      <a:pt x="768" y="386"/>
                    </a:lnTo>
                    <a:lnTo>
                      <a:pt x="781" y="396"/>
                    </a:lnTo>
                    <a:lnTo>
                      <a:pt x="799" y="416"/>
                    </a:lnTo>
                    <a:lnTo>
                      <a:pt x="810" y="424"/>
                    </a:lnTo>
                    <a:lnTo>
                      <a:pt x="889" y="458"/>
                    </a:lnTo>
                    <a:lnTo>
                      <a:pt x="912" y="462"/>
                    </a:lnTo>
                    <a:lnTo>
                      <a:pt x="935" y="478"/>
                    </a:lnTo>
                    <a:lnTo>
                      <a:pt x="942" y="514"/>
                    </a:lnTo>
                    <a:lnTo>
                      <a:pt x="940" y="549"/>
                    </a:lnTo>
                    <a:lnTo>
                      <a:pt x="935" y="565"/>
                    </a:lnTo>
                    <a:lnTo>
                      <a:pt x="929" y="574"/>
                    </a:lnTo>
                    <a:lnTo>
                      <a:pt x="936" y="591"/>
                    </a:lnTo>
                    <a:lnTo>
                      <a:pt x="956" y="621"/>
                    </a:lnTo>
                    <a:lnTo>
                      <a:pt x="971" y="640"/>
                    </a:lnTo>
                    <a:lnTo>
                      <a:pt x="976" y="651"/>
                    </a:lnTo>
                    <a:lnTo>
                      <a:pt x="988" y="700"/>
                    </a:lnTo>
                    <a:lnTo>
                      <a:pt x="999" y="731"/>
                    </a:lnTo>
                    <a:lnTo>
                      <a:pt x="1018" y="747"/>
                    </a:lnTo>
                    <a:lnTo>
                      <a:pt x="1046" y="736"/>
                    </a:lnTo>
                    <a:lnTo>
                      <a:pt x="1055" y="765"/>
                    </a:lnTo>
                    <a:lnTo>
                      <a:pt x="1054" y="800"/>
                    </a:lnTo>
                    <a:lnTo>
                      <a:pt x="1038" y="908"/>
                    </a:lnTo>
                    <a:lnTo>
                      <a:pt x="1038" y="922"/>
                    </a:lnTo>
                    <a:lnTo>
                      <a:pt x="1040" y="929"/>
                    </a:lnTo>
                    <a:lnTo>
                      <a:pt x="1051" y="949"/>
                    </a:lnTo>
                    <a:lnTo>
                      <a:pt x="1054" y="961"/>
                    </a:lnTo>
                    <a:lnTo>
                      <a:pt x="1040" y="999"/>
                    </a:lnTo>
                    <a:lnTo>
                      <a:pt x="1044" y="1013"/>
                    </a:lnTo>
                    <a:lnTo>
                      <a:pt x="1054" y="1068"/>
                    </a:lnTo>
                    <a:lnTo>
                      <a:pt x="1047" y="1091"/>
                    </a:lnTo>
                    <a:lnTo>
                      <a:pt x="1034" y="1112"/>
                    </a:lnTo>
                    <a:lnTo>
                      <a:pt x="1028" y="1133"/>
                    </a:lnTo>
                    <a:lnTo>
                      <a:pt x="1037" y="1158"/>
                    </a:lnTo>
                    <a:lnTo>
                      <a:pt x="1018" y="1175"/>
                    </a:lnTo>
                    <a:lnTo>
                      <a:pt x="1010" y="1185"/>
                    </a:lnTo>
                    <a:lnTo>
                      <a:pt x="1004" y="1195"/>
                    </a:lnTo>
                    <a:lnTo>
                      <a:pt x="1040" y="1202"/>
                    </a:lnTo>
                    <a:lnTo>
                      <a:pt x="1044" y="1238"/>
                    </a:lnTo>
                    <a:lnTo>
                      <a:pt x="1027" y="1318"/>
                    </a:lnTo>
                    <a:lnTo>
                      <a:pt x="1051" y="1313"/>
                    </a:lnTo>
                    <a:lnTo>
                      <a:pt x="1071" y="1325"/>
                    </a:lnTo>
                    <a:lnTo>
                      <a:pt x="1090" y="1346"/>
                    </a:lnTo>
                    <a:lnTo>
                      <a:pt x="1103" y="1366"/>
                    </a:lnTo>
                    <a:lnTo>
                      <a:pt x="1112" y="1406"/>
                    </a:lnTo>
                    <a:lnTo>
                      <a:pt x="1070" y="1559"/>
                    </a:lnTo>
                    <a:lnTo>
                      <a:pt x="1060" y="1619"/>
                    </a:lnTo>
                    <a:lnTo>
                      <a:pt x="1066" y="1713"/>
                    </a:lnTo>
                    <a:lnTo>
                      <a:pt x="1060" y="1741"/>
                    </a:lnTo>
                    <a:lnTo>
                      <a:pt x="1047" y="1767"/>
                    </a:lnTo>
                    <a:lnTo>
                      <a:pt x="1032" y="1780"/>
                    </a:lnTo>
                    <a:lnTo>
                      <a:pt x="1012" y="1790"/>
                    </a:lnTo>
                    <a:lnTo>
                      <a:pt x="993" y="1802"/>
                    </a:lnTo>
                    <a:lnTo>
                      <a:pt x="977" y="1806"/>
                    </a:lnTo>
                    <a:lnTo>
                      <a:pt x="968" y="1812"/>
                    </a:lnTo>
                    <a:lnTo>
                      <a:pt x="957" y="1816"/>
                    </a:lnTo>
                    <a:lnTo>
                      <a:pt x="947" y="1812"/>
                    </a:lnTo>
                    <a:lnTo>
                      <a:pt x="885" y="1777"/>
                    </a:lnTo>
                    <a:lnTo>
                      <a:pt x="872" y="1773"/>
                    </a:lnTo>
                    <a:lnTo>
                      <a:pt x="857" y="1775"/>
                    </a:lnTo>
                    <a:lnTo>
                      <a:pt x="843" y="1787"/>
                    </a:lnTo>
                    <a:lnTo>
                      <a:pt x="826" y="1824"/>
                    </a:lnTo>
                    <a:lnTo>
                      <a:pt x="813" y="1837"/>
                    </a:lnTo>
                    <a:lnTo>
                      <a:pt x="788" y="1838"/>
                    </a:lnTo>
                    <a:lnTo>
                      <a:pt x="762" y="1830"/>
                    </a:lnTo>
                    <a:lnTo>
                      <a:pt x="736" y="1826"/>
                    </a:lnTo>
                    <a:lnTo>
                      <a:pt x="713" y="1841"/>
                    </a:lnTo>
                    <a:lnTo>
                      <a:pt x="675" y="1840"/>
                    </a:lnTo>
                    <a:lnTo>
                      <a:pt x="634" y="1818"/>
                    </a:lnTo>
                    <a:lnTo>
                      <a:pt x="570" y="1757"/>
                    </a:lnTo>
                    <a:lnTo>
                      <a:pt x="563" y="1746"/>
                    </a:lnTo>
                    <a:lnTo>
                      <a:pt x="557" y="1727"/>
                    </a:lnTo>
                    <a:lnTo>
                      <a:pt x="551" y="1719"/>
                    </a:lnTo>
                    <a:lnTo>
                      <a:pt x="547" y="1721"/>
                    </a:lnTo>
                    <a:lnTo>
                      <a:pt x="509" y="1711"/>
                    </a:lnTo>
                    <a:lnTo>
                      <a:pt x="504" y="1707"/>
                    </a:lnTo>
                    <a:lnTo>
                      <a:pt x="485" y="1713"/>
                    </a:lnTo>
                    <a:lnTo>
                      <a:pt x="472" y="1726"/>
                    </a:lnTo>
                    <a:lnTo>
                      <a:pt x="468" y="1734"/>
                    </a:lnTo>
                    <a:lnTo>
                      <a:pt x="462" y="1742"/>
                    </a:lnTo>
                    <a:lnTo>
                      <a:pt x="447" y="1759"/>
                    </a:lnTo>
                    <a:lnTo>
                      <a:pt x="429" y="1768"/>
                    </a:lnTo>
                    <a:lnTo>
                      <a:pt x="407" y="1776"/>
                    </a:lnTo>
                    <a:lnTo>
                      <a:pt x="385" y="1782"/>
                    </a:lnTo>
                    <a:lnTo>
                      <a:pt x="365" y="1783"/>
                    </a:lnTo>
                    <a:lnTo>
                      <a:pt x="350" y="1778"/>
                    </a:lnTo>
                    <a:lnTo>
                      <a:pt x="313" y="1757"/>
                    </a:lnTo>
                    <a:lnTo>
                      <a:pt x="299" y="1756"/>
                    </a:lnTo>
                    <a:lnTo>
                      <a:pt x="295" y="1766"/>
                    </a:lnTo>
                    <a:lnTo>
                      <a:pt x="294" y="1778"/>
                    </a:lnTo>
                    <a:lnTo>
                      <a:pt x="292" y="1788"/>
                    </a:lnTo>
                    <a:lnTo>
                      <a:pt x="238" y="1866"/>
                    </a:lnTo>
                    <a:lnTo>
                      <a:pt x="217" y="1882"/>
                    </a:lnTo>
                    <a:lnTo>
                      <a:pt x="191" y="1882"/>
                    </a:lnTo>
                    <a:lnTo>
                      <a:pt x="164" y="1871"/>
                    </a:lnTo>
                    <a:lnTo>
                      <a:pt x="138" y="1852"/>
                    </a:lnTo>
                    <a:lnTo>
                      <a:pt x="118" y="1832"/>
                    </a:lnTo>
                    <a:lnTo>
                      <a:pt x="82" y="1781"/>
                    </a:lnTo>
                    <a:lnTo>
                      <a:pt x="67" y="1768"/>
                    </a:lnTo>
                    <a:lnTo>
                      <a:pt x="54" y="1763"/>
                    </a:lnTo>
                    <a:lnTo>
                      <a:pt x="43" y="1762"/>
                    </a:lnTo>
                    <a:lnTo>
                      <a:pt x="32" y="1763"/>
                    </a:lnTo>
                    <a:lnTo>
                      <a:pt x="23" y="1762"/>
                    </a:lnTo>
                    <a:lnTo>
                      <a:pt x="2" y="1741"/>
                    </a:lnTo>
                    <a:lnTo>
                      <a:pt x="0" y="1739"/>
                    </a:lnTo>
                    <a:lnTo>
                      <a:pt x="3" y="1735"/>
                    </a:lnTo>
                    <a:lnTo>
                      <a:pt x="4" y="1732"/>
                    </a:lnTo>
                    <a:lnTo>
                      <a:pt x="6" y="1728"/>
                    </a:lnTo>
                    <a:lnTo>
                      <a:pt x="9" y="1701"/>
                    </a:lnTo>
                    <a:lnTo>
                      <a:pt x="13" y="1676"/>
                    </a:lnTo>
                    <a:lnTo>
                      <a:pt x="14" y="1673"/>
                    </a:lnTo>
                    <a:lnTo>
                      <a:pt x="14" y="1671"/>
                    </a:lnTo>
                    <a:lnTo>
                      <a:pt x="29" y="1623"/>
                    </a:lnTo>
                    <a:lnTo>
                      <a:pt x="35" y="1556"/>
                    </a:lnTo>
                    <a:lnTo>
                      <a:pt x="33" y="1510"/>
                    </a:lnTo>
                    <a:lnTo>
                      <a:pt x="46" y="1482"/>
                    </a:lnTo>
                    <a:lnTo>
                      <a:pt x="64" y="1460"/>
                    </a:lnTo>
                    <a:lnTo>
                      <a:pt x="72" y="1444"/>
                    </a:lnTo>
                    <a:lnTo>
                      <a:pt x="72" y="1427"/>
                    </a:lnTo>
                    <a:lnTo>
                      <a:pt x="72" y="1403"/>
                    </a:lnTo>
                    <a:lnTo>
                      <a:pt x="74" y="1389"/>
                    </a:lnTo>
                    <a:lnTo>
                      <a:pt x="79" y="1384"/>
                    </a:lnTo>
                    <a:lnTo>
                      <a:pt x="91" y="1378"/>
                    </a:lnTo>
                    <a:lnTo>
                      <a:pt x="97" y="1374"/>
                    </a:lnTo>
                    <a:lnTo>
                      <a:pt x="104" y="1366"/>
                    </a:lnTo>
                    <a:lnTo>
                      <a:pt x="113" y="1363"/>
                    </a:lnTo>
                    <a:lnTo>
                      <a:pt x="117" y="1369"/>
                    </a:lnTo>
                    <a:lnTo>
                      <a:pt x="123" y="1377"/>
                    </a:lnTo>
                    <a:lnTo>
                      <a:pt x="132" y="1378"/>
                    </a:lnTo>
                    <a:lnTo>
                      <a:pt x="141" y="1378"/>
                    </a:lnTo>
                    <a:lnTo>
                      <a:pt x="144" y="1377"/>
                    </a:lnTo>
                    <a:lnTo>
                      <a:pt x="148" y="1376"/>
                    </a:lnTo>
                    <a:lnTo>
                      <a:pt x="155" y="1374"/>
                    </a:lnTo>
                    <a:lnTo>
                      <a:pt x="163" y="1373"/>
                    </a:lnTo>
                    <a:lnTo>
                      <a:pt x="170" y="1369"/>
                    </a:lnTo>
                    <a:lnTo>
                      <a:pt x="180" y="1367"/>
                    </a:lnTo>
                    <a:lnTo>
                      <a:pt x="189" y="1366"/>
                    </a:lnTo>
                    <a:lnTo>
                      <a:pt x="193" y="1366"/>
                    </a:lnTo>
                    <a:lnTo>
                      <a:pt x="198" y="1366"/>
                    </a:lnTo>
                    <a:lnTo>
                      <a:pt x="200" y="1360"/>
                    </a:lnTo>
                    <a:lnTo>
                      <a:pt x="207" y="1353"/>
                    </a:lnTo>
                    <a:lnTo>
                      <a:pt x="216" y="1346"/>
                    </a:lnTo>
                    <a:lnTo>
                      <a:pt x="223" y="1342"/>
                    </a:lnTo>
                    <a:lnTo>
                      <a:pt x="236" y="1335"/>
                    </a:lnTo>
                    <a:lnTo>
                      <a:pt x="250" y="1329"/>
                    </a:lnTo>
                    <a:lnTo>
                      <a:pt x="265" y="1334"/>
                    </a:lnTo>
                    <a:lnTo>
                      <a:pt x="277" y="1354"/>
                    </a:lnTo>
                    <a:lnTo>
                      <a:pt x="285" y="1368"/>
                    </a:lnTo>
                    <a:lnTo>
                      <a:pt x="294" y="1381"/>
                    </a:lnTo>
                    <a:lnTo>
                      <a:pt x="302" y="1394"/>
                    </a:lnTo>
                    <a:lnTo>
                      <a:pt x="310" y="1380"/>
                    </a:lnTo>
                    <a:lnTo>
                      <a:pt x="320" y="1355"/>
                    </a:lnTo>
                    <a:lnTo>
                      <a:pt x="328" y="1306"/>
                    </a:lnTo>
                    <a:lnTo>
                      <a:pt x="331" y="1256"/>
                    </a:lnTo>
                    <a:lnTo>
                      <a:pt x="333" y="1241"/>
                    </a:lnTo>
                    <a:lnTo>
                      <a:pt x="338" y="1231"/>
                    </a:lnTo>
                    <a:lnTo>
                      <a:pt x="356" y="1223"/>
                    </a:lnTo>
                    <a:lnTo>
                      <a:pt x="372" y="1215"/>
                    </a:lnTo>
                    <a:lnTo>
                      <a:pt x="378" y="1203"/>
                    </a:lnTo>
                    <a:lnTo>
                      <a:pt x="378" y="1177"/>
                    </a:lnTo>
                    <a:lnTo>
                      <a:pt x="376" y="1153"/>
                    </a:lnTo>
                    <a:lnTo>
                      <a:pt x="369" y="1145"/>
                    </a:lnTo>
                    <a:lnTo>
                      <a:pt x="362" y="1135"/>
                    </a:lnTo>
                    <a:lnTo>
                      <a:pt x="362" y="1116"/>
                    </a:lnTo>
                    <a:lnTo>
                      <a:pt x="358" y="1096"/>
                    </a:lnTo>
                    <a:lnTo>
                      <a:pt x="350" y="1083"/>
                    </a:lnTo>
                    <a:lnTo>
                      <a:pt x="348" y="1075"/>
                    </a:lnTo>
                    <a:lnTo>
                      <a:pt x="352" y="1072"/>
                    </a:lnTo>
                    <a:lnTo>
                      <a:pt x="362" y="1061"/>
                    </a:lnTo>
                    <a:lnTo>
                      <a:pt x="372" y="1053"/>
                    </a:lnTo>
                    <a:lnTo>
                      <a:pt x="378" y="1048"/>
                    </a:lnTo>
                    <a:lnTo>
                      <a:pt x="378" y="1027"/>
                    </a:lnTo>
                    <a:lnTo>
                      <a:pt x="369" y="985"/>
                    </a:lnTo>
                    <a:lnTo>
                      <a:pt x="357" y="939"/>
                    </a:lnTo>
                    <a:lnTo>
                      <a:pt x="352" y="909"/>
                    </a:lnTo>
                    <a:lnTo>
                      <a:pt x="357" y="894"/>
                    </a:lnTo>
                    <a:lnTo>
                      <a:pt x="362" y="879"/>
                    </a:lnTo>
                    <a:lnTo>
                      <a:pt x="355" y="860"/>
                    </a:lnTo>
                    <a:lnTo>
                      <a:pt x="337" y="839"/>
                    </a:lnTo>
                    <a:lnTo>
                      <a:pt x="314" y="806"/>
                    </a:lnTo>
                    <a:lnTo>
                      <a:pt x="292" y="773"/>
                    </a:lnTo>
                    <a:lnTo>
                      <a:pt x="277" y="754"/>
                    </a:lnTo>
                    <a:lnTo>
                      <a:pt x="265" y="730"/>
                    </a:lnTo>
                    <a:lnTo>
                      <a:pt x="256" y="702"/>
                    </a:lnTo>
                    <a:lnTo>
                      <a:pt x="251" y="672"/>
                    </a:lnTo>
                    <a:lnTo>
                      <a:pt x="257" y="648"/>
                    </a:lnTo>
                    <a:lnTo>
                      <a:pt x="267" y="639"/>
                    </a:lnTo>
                    <a:lnTo>
                      <a:pt x="267" y="632"/>
                    </a:lnTo>
                    <a:lnTo>
                      <a:pt x="260" y="628"/>
                    </a:lnTo>
                    <a:lnTo>
                      <a:pt x="249" y="628"/>
                    </a:lnTo>
                    <a:lnTo>
                      <a:pt x="235" y="634"/>
                    </a:lnTo>
                    <a:lnTo>
                      <a:pt x="224" y="638"/>
                    </a:lnTo>
                    <a:lnTo>
                      <a:pt x="223" y="625"/>
                    </a:lnTo>
                    <a:lnTo>
                      <a:pt x="221" y="604"/>
                    </a:lnTo>
                    <a:lnTo>
                      <a:pt x="215" y="591"/>
                    </a:lnTo>
                    <a:lnTo>
                      <a:pt x="205" y="565"/>
                    </a:lnTo>
                    <a:lnTo>
                      <a:pt x="195" y="543"/>
                    </a:lnTo>
                    <a:lnTo>
                      <a:pt x="181" y="520"/>
                    </a:lnTo>
                    <a:lnTo>
                      <a:pt x="166" y="491"/>
                    </a:lnTo>
                    <a:lnTo>
                      <a:pt x="159" y="484"/>
                    </a:lnTo>
                    <a:lnTo>
                      <a:pt x="152" y="473"/>
                    </a:lnTo>
                    <a:lnTo>
                      <a:pt x="149" y="459"/>
                    </a:lnTo>
                    <a:lnTo>
                      <a:pt x="142" y="453"/>
                    </a:lnTo>
                    <a:lnTo>
                      <a:pt x="138" y="452"/>
                    </a:lnTo>
                    <a:lnTo>
                      <a:pt x="134" y="449"/>
                    </a:lnTo>
                    <a:lnTo>
                      <a:pt x="168" y="428"/>
                    </a:lnTo>
                    <a:lnTo>
                      <a:pt x="217" y="406"/>
                    </a:lnTo>
                    <a:lnTo>
                      <a:pt x="230" y="392"/>
                    </a:lnTo>
                    <a:lnTo>
                      <a:pt x="236" y="371"/>
                    </a:lnTo>
                    <a:lnTo>
                      <a:pt x="244" y="318"/>
                    </a:lnTo>
                    <a:lnTo>
                      <a:pt x="252" y="298"/>
                    </a:lnTo>
                    <a:lnTo>
                      <a:pt x="262" y="292"/>
                    </a:lnTo>
                    <a:lnTo>
                      <a:pt x="271" y="290"/>
                    </a:lnTo>
                    <a:lnTo>
                      <a:pt x="281" y="290"/>
                    </a:lnTo>
                    <a:lnTo>
                      <a:pt x="289" y="287"/>
                    </a:lnTo>
                    <a:lnTo>
                      <a:pt x="308" y="274"/>
                    </a:lnTo>
                    <a:lnTo>
                      <a:pt x="362" y="217"/>
                    </a:lnTo>
                    <a:lnTo>
                      <a:pt x="377" y="193"/>
                    </a:lnTo>
                    <a:lnTo>
                      <a:pt x="390" y="169"/>
                    </a:lnTo>
                    <a:lnTo>
                      <a:pt x="392" y="159"/>
                    </a:lnTo>
                    <a:lnTo>
                      <a:pt x="395" y="140"/>
                    </a:lnTo>
                    <a:lnTo>
                      <a:pt x="399" y="131"/>
                    </a:lnTo>
                    <a:lnTo>
                      <a:pt x="402" y="128"/>
                    </a:lnTo>
                    <a:lnTo>
                      <a:pt x="407" y="123"/>
                    </a:lnTo>
                    <a:lnTo>
                      <a:pt x="427" y="113"/>
                    </a:lnTo>
                    <a:lnTo>
                      <a:pt x="434" y="107"/>
                    </a:lnTo>
                    <a:lnTo>
                      <a:pt x="441" y="86"/>
                    </a:lnTo>
                    <a:lnTo>
                      <a:pt x="448" y="29"/>
                    </a:lnTo>
                    <a:lnTo>
                      <a:pt x="458" y="9"/>
                    </a:lnTo>
                    <a:lnTo>
                      <a:pt x="477" y="2"/>
                    </a:lnTo>
                    <a:lnTo>
                      <a:pt x="497" y="5"/>
                    </a:lnTo>
                    <a:lnTo>
                      <a:pt x="516" y="12"/>
                    </a:lnTo>
                    <a:lnTo>
                      <a:pt x="537" y="15"/>
                    </a:lnTo>
                    <a:lnTo>
                      <a:pt x="556" y="10"/>
                    </a:lnTo>
                    <a:lnTo>
                      <a:pt x="571" y="2"/>
                    </a:lnTo>
                    <a:lnTo>
                      <a:pt x="587" y="0"/>
                    </a:lnTo>
                    <a:lnTo>
                      <a:pt x="606" y="5"/>
                    </a:lnTo>
                    <a:close/>
                  </a:path>
                </a:pathLst>
              </a:custGeom>
              <a:solidFill>
                <a:srgbClr val="CCCCCC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470" name="Freeform 25"/>
              <p:cNvSpPr>
                <a:spLocks/>
              </p:cNvSpPr>
              <p:nvPr/>
            </p:nvSpPr>
            <p:spPr bwMode="auto">
              <a:xfrm>
                <a:off x="5307013" y="2768600"/>
                <a:ext cx="1566863" cy="1279525"/>
              </a:xfrm>
              <a:custGeom>
                <a:avLst/>
                <a:gdLst>
                  <a:gd name="T0" fmla="*/ 2147483646 w 987"/>
                  <a:gd name="T1" fmla="*/ 2147483646 h 806"/>
                  <a:gd name="T2" fmla="*/ 2147483646 w 987"/>
                  <a:gd name="T3" fmla="*/ 2147483646 h 806"/>
                  <a:gd name="T4" fmla="*/ 2147483646 w 987"/>
                  <a:gd name="T5" fmla="*/ 2147483646 h 806"/>
                  <a:gd name="T6" fmla="*/ 2147483646 w 987"/>
                  <a:gd name="T7" fmla="*/ 2147483646 h 806"/>
                  <a:gd name="T8" fmla="*/ 2147483646 w 987"/>
                  <a:gd name="T9" fmla="*/ 2147483646 h 806"/>
                  <a:gd name="T10" fmla="*/ 2147483646 w 987"/>
                  <a:gd name="T11" fmla="*/ 2147483646 h 806"/>
                  <a:gd name="T12" fmla="*/ 2147483646 w 987"/>
                  <a:gd name="T13" fmla="*/ 2147483646 h 806"/>
                  <a:gd name="T14" fmla="*/ 2147483646 w 987"/>
                  <a:gd name="T15" fmla="*/ 2147483646 h 806"/>
                  <a:gd name="T16" fmla="*/ 2147483646 w 987"/>
                  <a:gd name="T17" fmla="*/ 2147483646 h 806"/>
                  <a:gd name="T18" fmla="*/ 2147483646 w 987"/>
                  <a:gd name="T19" fmla="*/ 2147483646 h 806"/>
                  <a:gd name="T20" fmla="*/ 2147483646 w 987"/>
                  <a:gd name="T21" fmla="*/ 2147483646 h 806"/>
                  <a:gd name="T22" fmla="*/ 2147483646 w 987"/>
                  <a:gd name="T23" fmla="*/ 2147483646 h 806"/>
                  <a:gd name="T24" fmla="*/ 2147483646 w 987"/>
                  <a:gd name="T25" fmla="*/ 2147483646 h 806"/>
                  <a:gd name="T26" fmla="*/ 2147483646 w 987"/>
                  <a:gd name="T27" fmla="*/ 2147483646 h 806"/>
                  <a:gd name="T28" fmla="*/ 2147483646 w 987"/>
                  <a:gd name="T29" fmla="*/ 2147483646 h 806"/>
                  <a:gd name="T30" fmla="*/ 2147483646 w 987"/>
                  <a:gd name="T31" fmla="*/ 2147483646 h 806"/>
                  <a:gd name="T32" fmla="*/ 2147483646 w 987"/>
                  <a:gd name="T33" fmla="*/ 2147483646 h 806"/>
                  <a:gd name="T34" fmla="*/ 2147483646 w 987"/>
                  <a:gd name="T35" fmla="*/ 2147483646 h 806"/>
                  <a:gd name="T36" fmla="*/ 2147483646 w 987"/>
                  <a:gd name="T37" fmla="*/ 2147483646 h 806"/>
                  <a:gd name="T38" fmla="*/ 2147483646 w 987"/>
                  <a:gd name="T39" fmla="*/ 2147483646 h 806"/>
                  <a:gd name="T40" fmla="*/ 2147483646 w 987"/>
                  <a:gd name="T41" fmla="*/ 2147483646 h 806"/>
                  <a:gd name="T42" fmla="*/ 2147483646 w 987"/>
                  <a:gd name="T43" fmla="*/ 2147483646 h 806"/>
                  <a:gd name="T44" fmla="*/ 2147483646 w 987"/>
                  <a:gd name="T45" fmla="*/ 2147483646 h 806"/>
                  <a:gd name="T46" fmla="*/ 2147483646 w 987"/>
                  <a:gd name="T47" fmla="*/ 2147483646 h 806"/>
                  <a:gd name="T48" fmla="*/ 2147483646 w 987"/>
                  <a:gd name="T49" fmla="*/ 2147483646 h 806"/>
                  <a:gd name="T50" fmla="*/ 2147483646 w 987"/>
                  <a:gd name="T51" fmla="*/ 2147483646 h 806"/>
                  <a:gd name="T52" fmla="*/ 2147483646 w 987"/>
                  <a:gd name="T53" fmla="*/ 2147483646 h 806"/>
                  <a:gd name="T54" fmla="*/ 2147483646 w 987"/>
                  <a:gd name="T55" fmla="*/ 2147483646 h 806"/>
                  <a:gd name="T56" fmla="*/ 2147483646 w 987"/>
                  <a:gd name="T57" fmla="*/ 2147483646 h 806"/>
                  <a:gd name="T58" fmla="*/ 2147483646 w 987"/>
                  <a:gd name="T59" fmla="*/ 2147483646 h 806"/>
                  <a:gd name="T60" fmla="*/ 2147483646 w 987"/>
                  <a:gd name="T61" fmla="*/ 2147483646 h 806"/>
                  <a:gd name="T62" fmla="*/ 2147483646 w 987"/>
                  <a:gd name="T63" fmla="*/ 2147483646 h 806"/>
                  <a:gd name="T64" fmla="*/ 2147483646 w 987"/>
                  <a:gd name="T65" fmla="*/ 2147483646 h 806"/>
                  <a:gd name="T66" fmla="*/ 2147483646 w 987"/>
                  <a:gd name="T67" fmla="*/ 2147483646 h 806"/>
                  <a:gd name="T68" fmla="*/ 2147483646 w 987"/>
                  <a:gd name="T69" fmla="*/ 2147483646 h 806"/>
                  <a:gd name="T70" fmla="*/ 2147483646 w 987"/>
                  <a:gd name="T71" fmla="*/ 2147483646 h 806"/>
                  <a:gd name="T72" fmla="*/ 2147483646 w 987"/>
                  <a:gd name="T73" fmla="*/ 2147483646 h 806"/>
                  <a:gd name="T74" fmla="*/ 2147483646 w 987"/>
                  <a:gd name="T75" fmla="*/ 2147483646 h 806"/>
                  <a:gd name="T76" fmla="*/ 2147483646 w 987"/>
                  <a:gd name="T77" fmla="*/ 2147483646 h 806"/>
                  <a:gd name="T78" fmla="*/ 2147483646 w 987"/>
                  <a:gd name="T79" fmla="*/ 2147483646 h 806"/>
                  <a:gd name="T80" fmla="*/ 2147483646 w 987"/>
                  <a:gd name="T81" fmla="*/ 2147483646 h 806"/>
                  <a:gd name="T82" fmla="*/ 2147483646 w 987"/>
                  <a:gd name="T83" fmla="*/ 2147483646 h 806"/>
                  <a:gd name="T84" fmla="*/ 2147483646 w 987"/>
                  <a:gd name="T85" fmla="*/ 2147483646 h 806"/>
                  <a:gd name="T86" fmla="*/ 2147483646 w 987"/>
                  <a:gd name="T87" fmla="*/ 2147483646 h 806"/>
                  <a:gd name="T88" fmla="*/ 2147483646 w 987"/>
                  <a:gd name="T89" fmla="*/ 2147483646 h 806"/>
                  <a:gd name="T90" fmla="*/ 2147483646 w 987"/>
                  <a:gd name="T91" fmla="*/ 2147483646 h 806"/>
                  <a:gd name="T92" fmla="*/ 2147483646 w 987"/>
                  <a:gd name="T93" fmla="*/ 2147483646 h 806"/>
                  <a:gd name="T94" fmla="*/ 2147483646 w 987"/>
                  <a:gd name="T95" fmla="*/ 2147483646 h 806"/>
                  <a:gd name="T96" fmla="*/ 2147483646 w 987"/>
                  <a:gd name="T97" fmla="*/ 0 h 80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987" h="806">
                    <a:moveTo>
                      <a:pt x="455" y="1"/>
                    </a:moveTo>
                    <a:lnTo>
                      <a:pt x="455" y="1"/>
                    </a:lnTo>
                    <a:lnTo>
                      <a:pt x="468" y="9"/>
                    </a:lnTo>
                    <a:lnTo>
                      <a:pt x="502" y="65"/>
                    </a:lnTo>
                    <a:lnTo>
                      <a:pt x="506" y="95"/>
                    </a:lnTo>
                    <a:lnTo>
                      <a:pt x="509" y="151"/>
                    </a:lnTo>
                    <a:lnTo>
                      <a:pt x="520" y="180"/>
                    </a:lnTo>
                    <a:lnTo>
                      <a:pt x="541" y="202"/>
                    </a:lnTo>
                    <a:lnTo>
                      <a:pt x="565" y="210"/>
                    </a:lnTo>
                    <a:lnTo>
                      <a:pt x="590" y="207"/>
                    </a:lnTo>
                    <a:lnTo>
                      <a:pt x="616" y="195"/>
                    </a:lnTo>
                    <a:lnTo>
                      <a:pt x="697" y="144"/>
                    </a:lnTo>
                    <a:lnTo>
                      <a:pt x="710" y="141"/>
                    </a:lnTo>
                    <a:lnTo>
                      <a:pt x="720" y="111"/>
                    </a:lnTo>
                    <a:lnTo>
                      <a:pt x="736" y="92"/>
                    </a:lnTo>
                    <a:lnTo>
                      <a:pt x="743" y="89"/>
                    </a:lnTo>
                    <a:lnTo>
                      <a:pt x="747" y="92"/>
                    </a:lnTo>
                    <a:lnTo>
                      <a:pt x="751" y="93"/>
                    </a:lnTo>
                    <a:lnTo>
                      <a:pt x="758" y="99"/>
                    </a:lnTo>
                    <a:lnTo>
                      <a:pt x="761" y="113"/>
                    </a:lnTo>
                    <a:lnTo>
                      <a:pt x="768" y="124"/>
                    </a:lnTo>
                    <a:lnTo>
                      <a:pt x="775" y="131"/>
                    </a:lnTo>
                    <a:lnTo>
                      <a:pt x="790" y="160"/>
                    </a:lnTo>
                    <a:lnTo>
                      <a:pt x="804" y="183"/>
                    </a:lnTo>
                    <a:lnTo>
                      <a:pt x="814" y="205"/>
                    </a:lnTo>
                    <a:lnTo>
                      <a:pt x="824" y="231"/>
                    </a:lnTo>
                    <a:lnTo>
                      <a:pt x="830" y="244"/>
                    </a:lnTo>
                    <a:lnTo>
                      <a:pt x="832" y="265"/>
                    </a:lnTo>
                    <a:lnTo>
                      <a:pt x="833" y="278"/>
                    </a:lnTo>
                    <a:lnTo>
                      <a:pt x="844" y="274"/>
                    </a:lnTo>
                    <a:lnTo>
                      <a:pt x="858" y="268"/>
                    </a:lnTo>
                    <a:lnTo>
                      <a:pt x="869" y="268"/>
                    </a:lnTo>
                    <a:lnTo>
                      <a:pt x="876" y="272"/>
                    </a:lnTo>
                    <a:lnTo>
                      <a:pt x="876" y="279"/>
                    </a:lnTo>
                    <a:lnTo>
                      <a:pt x="866" y="288"/>
                    </a:lnTo>
                    <a:lnTo>
                      <a:pt x="860" y="312"/>
                    </a:lnTo>
                    <a:lnTo>
                      <a:pt x="865" y="342"/>
                    </a:lnTo>
                    <a:lnTo>
                      <a:pt x="874" y="370"/>
                    </a:lnTo>
                    <a:lnTo>
                      <a:pt x="886" y="394"/>
                    </a:lnTo>
                    <a:lnTo>
                      <a:pt x="901" y="413"/>
                    </a:lnTo>
                    <a:lnTo>
                      <a:pt x="923" y="446"/>
                    </a:lnTo>
                    <a:lnTo>
                      <a:pt x="946" y="479"/>
                    </a:lnTo>
                    <a:lnTo>
                      <a:pt x="964" y="500"/>
                    </a:lnTo>
                    <a:lnTo>
                      <a:pt x="971" y="519"/>
                    </a:lnTo>
                    <a:lnTo>
                      <a:pt x="966" y="534"/>
                    </a:lnTo>
                    <a:lnTo>
                      <a:pt x="961" y="549"/>
                    </a:lnTo>
                    <a:lnTo>
                      <a:pt x="966" y="579"/>
                    </a:lnTo>
                    <a:lnTo>
                      <a:pt x="978" y="625"/>
                    </a:lnTo>
                    <a:lnTo>
                      <a:pt x="987" y="667"/>
                    </a:lnTo>
                    <a:lnTo>
                      <a:pt x="987" y="688"/>
                    </a:lnTo>
                    <a:lnTo>
                      <a:pt x="981" y="693"/>
                    </a:lnTo>
                    <a:lnTo>
                      <a:pt x="971" y="701"/>
                    </a:lnTo>
                    <a:lnTo>
                      <a:pt x="961" y="712"/>
                    </a:lnTo>
                    <a:lnTo>
                      <a:pt x="957" y="715"/>
                    </a:lnTo>
                    <a:lnTo>
                      <a:pt x="949" y="714"/>
                    </a:lnTo>
                    <a:lnTo>
                      <a:pt x="929" y="707"/>
                    </a:lnTo>
                    <a:lnTo>
                      <a:pt x="892" y="677"/>
                    </a:lnTo>
                    <a:lnTo>
                      <a:pt x="852" y="646"/>
                    </a:lnTo>
                    <a:lnTo>
                      <a:pt x="832" y="632"/>
                    </a:lnTo>
                    <a:lnTo>
                      <a:pt x="823" y="628"/>
                    </a:lnTo>
                    <a:lnTo>
                      <a:pt x="817" y="645"/>
                    </a:lnTo>
                    <a:lnTo>
                      <a:pt x="809" y="668"/>
                    </a:lnTo>
                    <a:lnTo>
                      <a:pt x="802" y="679"/>
                    </a:lnTo>
                    <a:lnTo>
                      <a:pt x="791" y="677"/>
                    </a:lnTo>
                    <a:lnTo>
                      <a:pt x="761" y="682"/>
                    </a:lnTo>
                    <a:lnTo>
                      <a:pt x="738" y="695"/>
                    </a:lnTo>
                    <a:lnTo>
                      <a:pt x="731" y="705"/>
                    </a:lnTo>
                    <a:lnTo>
                      <a:pt x="718" y="722"/>
                    </a:lnTo>
                    <a:lnTo>
                      <a:pt x="702" y="733"/>
                    </a:lnTo>
                    <a:lnTo>
                      <a:pt x="688" y="721"/>
                    </a:lnTo>
                    <a:lnTo>
                      <a:pt x="672" y="709"/>
                    </a:lnTo>
                    <a:lnTo>
                      <a:pt x="660" y="714"/>
                    </a:lnTo>
                    <a:lnTo>
                      <a:pt x="651" y="730"/>
                    </a:lnTo>
                    <a:lnTo>
                      <a:pt x="641" y="749"/>
                    </a:lnTo>
                    <a:lnTo>
                      <a:pt x="636" y="763"/>
                    </a:lnTo>
                    <a:lnTo>
                      <a:pt x="642" y="784"/>
                    </a:lnTo>
                    <a:lnTo>
                      <a:pt x="647" y="800"/>
                    </a:lnTo>
                    <a:lnTo>
                      <a:pt x="642" y="805"/>
                    </a:lnTo>
                    <a:lnTo>
                      <a:pt x="639" y="806"/>
                    </a:lnTo>
                    <a:lnTo>
                      <a:pt x="637" y="804"/>
                    </a:lnTo>
                    <a:lnTo>
                      <a:pt x="626" y="801"/>
                    </a:lnTo>
                    <a:lnTo>
                      <a:pt x="615" y="792"/>
                    </a:lnTo>
                    <a:lnTo>
                      <a:pt x="604" y="778"/>
                    </a:lnTo>
                    <a:lnTo>
                      <a:pt x="594" y="766"/>
                    </a:lnTo>
                    <a:lnTo>
                      <a:pt x="587" y="758"/>
                    </a:lnTo>
                    <a:lnTo>
                      <a:pt x="577" y="751"/>
                    </a:lnTo>
                    <a:lnTo>
                      <a:pt x="568" y="745"/>
                    </a:lnTo>
                    <a:lnTo>
                      <a:pt x="560" y="740"/>
                    </a:lnTo>
                    <a:lnTo>
                      <a:pt x="546" y="734"/>
                    </a:lnTo>
                    <a:lnTo>
                      <a:pt x="525" y="734"/>
                    </a:lnTo>
                    <a:lnTo>
                      <a:pt x="501" y="738"/>
                    </a:lnTo>
                    <a:lnTo>
                      <a:pt x="478" y="738"/>
                    </a:lnTo>
                    <a:lnTo>
                      <a:pt x="446" y="726"/>
                    </a:lnTo>
                    <a:lnTo>
                      <a:pt x="423" y="709"/>
                    </a:lnTo>
                    <a:lnTo>
                      <a:pt x="417" y="689"/>
                    </a:lnTo>
                    <a:lnTo>
                      <a:pt x="400" y="671"/>
                    </a:lnTo>
                    <a:lnTo>
                      <a:pt x="386" y="646"/>
                    </a:lnTo>
                    <a:lnTo>
                      <a:pt x="370" y="619"/>
                    </a:lnTo>
                    <a:lnTo>
                      <a:pt x="359" y="597"/>
                    </a:lnTo>
                    <a:lnTo>
                      <a:pt x="354" y="584"/>
                    </a:lnTo>
                    <a:lnTo>
                      <a:pt x="345" y="582"/>
                    </a:lnTo>
                    <a:lnTo>
                      <a:pt x="329" y="586"/>
                    </a:lnTo>
                    <a:lnTo>
                      <a:pt x="307" y="576"/>
                    </a:lnTo>
                    <a:lnTo>
                      <a:pt x="288" y="561"/>
                    </a:lnTo>
                    <a:lnTo>
                      <a:pt x="275" y="559"/>
                    </a:lnTo>
                    <a:lnTo>
                      <a:pt x="261" y="560"/>
                    </a:lnTo>
                    <a:lnTo>
                      <a:pt x="254" y="563"/>
                    </a:lnTo>
                    <a:lnTo>
                      <a:pt x="241" y="552"/>
                    </a:lnTo>
                    <a:lnTo>
                      <a:pt x="226" y="531"/>
                    </a:lnTo>
                    <a:lnTo>
                      <a:pt x="227" y="502"/>
                    </a:lnTo>
                    <a:lnTo>
                      <a:pt x="228" y="461"/>
                    </a:lnTo>
                    <a:lnTo>
                      <a:pt x="227" y="405"/>
                    </a:lnTo>
                    <a:lnTo>
                      <a:pt x="221" y="364"/>
                    </a:lnTo>
                    <a:lnTo>
                      <a:pt x="198" y="362"/>
                    </a:lnTo>
                    <a:lnTo>
                      <a:pt x="174" y="363"/>
                    </a:lnTo>
                    <a:lnTo>
                      <a:pt x="151" y="350"/>
                    </a:lnTo>
                    <a:lnTo>
                      <a:pt x="133" y="340"/>
                    </a:lnTo>
                    <a:lnTo>
                      <a:pt x="126" y="337"/>
                    </a:lnTo>
                    <a:lnTo>
                      <a:pt x="121" y="335"/>
                    </a:lnTo>
                    <a:lnTo>
                      <a:pt x="113" y="338"/>
                    </a:lnTo>
                    <a:lnTo>
                      <a:pt x="104" y="338"/>
                    </a:lnTo>
                    <a:lnTo>
                      <a:pt x="82" y="330"/>
                    </a:lnTo>
                    <a:lnTo>
                      <a:pt x="56" y="320"/>
                    </a:lnTo>
                    <a:lnTo>
                      <a:pt x="27" y="281"/>
                    </a:lnTo>
                    <a:lnTo>
                      <a:pt x="6" y="247"/>
                    </a:lnTo>
                    <a:lnTo>
                      <a:pt x="0" y="239"/>
                    </a:lnTo>
                    <a:lnTo>
                      <a:pt x="23" y="197"/>
                    </a:lnTo>
                    <a:lnTo>
                      <a:pt x="64" y="148"/>
                    </a:lnTo>
                    <a:lnTo>
                      <a:pt x="112" y="109"/>
                    </a:lnTo>
                    <a:lnTo>
                      <a:pt x="160" y="90"/>
                    </a:lnTo>
                    <a:lnTo>
                      <a:pt x="207" y="92"/>
                    </a:lnTo>
                    <a:lnTo>
                      <a:pt x="233" y="91"/>
                    </a:lnTo>
                    <a:lnTo>
                      <a:pt x="255" y="84"/>
                    </a:lnTo>
                    <a:lnTo>
                      <a:pt x="279" y="68"/>
                    </a:lnTo>
                    <a:lnTo>
                      <a:pt x="298" y="53"/>
                    </a:lnTo>
                    <a:lnTo>
                      <a:pt x="318" y="41"/>
                    </a:lnTo>
                    <a:lnTo>
                      <a:pt x="347" y="35"/>
                    </a:lnTo>
                    <a:lnTo>
                      <a:pt x="361" y="39"/>
                    </a:lnTo>
                    <a:lnTo>
                      <a:pt x="386" y="56"/>
                    </a:lnTo>
                    <a:lnTo>
                      <a:pt x="395" y="60"/>
                    </a:lnTo>
                    <a:lnTo>
                      <a:pt x="404" y="53"/>
                    </a:lnTo>
                    <a:lnTo>
                      <a:pt x="412" y="26"/>
                    </a:lnTo>
                    <a:lnTo>
                      <a:pt x="423" y="12"/>
                    </a:lnTo>
                    <a:lnTo>
                      <a:pt x="433" y="4"/>
                    </a:lnTo>
                    <a:lnTo>
                      <a:pt x="444" y="0"/>
                    </a:lnTo>
                    <a:lnTo>
                      <a:pt x="455" y="1"/>
                    </a:lnTo>
                    <a:close/>
                  </a:path>
                </a:pathLst>
              </a:custGeom>
              <a:solidFill>
                <a:srgbClr val="CCCCCC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471" name="Freeform 26"/>
              <p:cNvSpPr>
                <a:spLocks/>
              </p:cNvSpPr>
              <p:nvPr/>
            </p:nvSpPr>
            <p:spPr bwMode="auto">
              <a:xfrm>
                <a:off x="6316663" y="3765550"/>
                <a:ext cx="557213" cy="644525"/>
              </a:xfrm>
              <a:custGeom>
                <a:avLst/>
                <a:gdLst>
                  <a:gd name="T0" fmla="*/ 2147483646 w 351"/>
                  <a:gd name="T1" fmla="*/ 2147483646 h 406"/>
                  <a:gd name="T2" fmla="*/ 2147483646 w 351"/>
                  <a:gd name="T3" fmla="*/ 2147483646 h 406"/>
                  <a:gd name="T4" fmla="*/ 2147483646 w 351"/>
                  <a:gd name="T5" fmla="*/ 2147483646 h 406"/>
                  <a:gd name="T6" fmla="*/ 2147483646 w 351"/>
                  <a:gd name="T7" fmla="*/ 2147483646 h 406"/>
                  <a:gd name="T8" fmla="*/ 2147483646 w 351"/>
                  <a:gd name="T9" fmla="*/ 2147483646 h 406"/>
                  <a:gd name="T10" fmla="*/ 2147483646 w 351"/>
                  <a:gd name="T11" fmla="*/ 2147483646 h 406"/>
                  <a:gd name="T12" fmla="*/ 2147483646 w 351"/>
                  <a:gd name="T13" fmla="*/ 2147483646 h 406"/>
                  <a:gd name="T14" fmla="*/ 2147483646 w 351"/>
                  <a:gd name="T15" fmla="*/ 2147483646 h 406"/>
                  <a:gd name="T16" fmla="*/ 2147483646 w 351"/>
                  <a:gd name="T17" fmla="*/ 2147483646 h 406"/>
                  <a:gd name="T18" fmla="*/ 2147483646 w 351"/>
                  <a:gd name="T19" fmla="*/ 2147483646 h 406"/>
                  <a:gd name="T20" fmla="*/ 2147483646 w 351"/>
                  <a:gd name="T21" fmla="*/ 2147483646 h 406"/>
                  <a:gd name="T22" fmla="*/ 2147483646 w 351"/>
                  <a:gd name="T23" fmla="*/ 2147483646 h 406"/>
                  <a:gd name="T24" fmla="*/ 2147483646 w 351"/>
                  <a:gd name="T25" fmla="*/ 2147483646 h 406"/>
                  <a:gd name="T26" fmla="*/ 2147483646 w 351"/>
                  <a:gd name="T27" fmla="*/ 2147483646 h 406"/>
                  <a:gd name="T28" fmla="*/ 2147483646 w 351"/>
                  <a:gd name="T29" fmla="*/ 2147483646 h 406"/>
                  <a:gd name="T30" fmla="*/ 2147483646 w 351"/>
                  <a:gd name="T31" fmla="*/ 2147483646 h 406"/>
                  <a:gd name="T32" fmla="*/ 2147483646 w 351"/>
                  <a:gd name="T33" fmla="*/ 2147483646 h 406"/>
                  <a:gd name="T34" fmla="*/ 2147483646 w 351"/>
                  <a:gd name="T35" fmla="*/ 2147483646 h 406"/>
                  <a:gd name="T36" fmla="*/ 2147483646 w 351"/>
                  <a:gd name="T37" fmla="*/ 2147483646 h 406"/>
                  <a:gd name="T38" fmla="*/ 2147483646 w 351"/>
                  <a:gd name="T39" fmla="*/ 2147483646 h 406"/>
                  <a:gd name="T40" fmla="*/ 2147483646 w 351"/>
                  <a:gd name="T41" fmla="*/ 2147483646 h 406"/>
                  <a:gd name="T42" fmla="*/ 2147483646 w 351"/>
                  <a:gd name="T43" fmla="*/ 2147483646 h 406"/>
                  <a:gd name="T44" fmla="*/ 2147483646 w 351"/>
                  <a:gd name="T45" fmla="*/ 2147483646 h 406"/>
                  <a:gd name="T46" fmla="*/ 2147483646 w 351"/>
                  <a:gd name="T47" fmla="*/ 2147483646 h 406"/>
                  <a:gd name="T48" fmla="*/ 2147483646 w 351"/>
                  <a:gd name="T49" fmla="*/ 2147483646 h 406"/>
                  <a:gd name="T50" fmla="*/ 2147483646 w 351"/>
                  <a:gd name="T51" fmla="*/ 2147483646 h 406"/>
                  <a:gd name="T52" fmla="*/ 2147483646 w 351"/>
                  <a:gd name="T53" fmla="*/ 2147483646 h 406"/>
                  <a:gd name="T54" fmla="*/ 2147483646 w 351"/>
                  <a:gd name="T55" fmla="*/ 2147483646 h 406"/>
                  <a:gd name="T56" fmla="*/ 2147483646 w 351"/>
                  <a:gd name="T57" fmla="*/ 2147483646 h 406"/>
                  <a:gd name="T58" fmla="*/ 2147483646 w 351"/>
                  <a:gd name="T59" fmla="*/ 2147483646 h 406"/>
                  <a:gd name="T60" fmla="*/ 2147483646 w 351"/>
                  <a:gd name="T61" fmla="*/ 2147483646 h 406"/>
                  <a:gd name="T62" fmla="*/ 2147483646 w 351"/>
                  <a:gd name="T63" fmla="*/ 2147483646 h 406"/>
                  <a:gd name="T64" fmla="*/ 2147483646 w 351"/>
                  <a:gd name="T65" fmla="*/ 2147483646 h 406"/>
                  <a:gd name="T66" fmla="*/ 2147483646 w 351"/>
                  <a:gd name="T67" fmla="*/ 2147483646 h 406"/>
                  <a:gd name="T68" fmla="*/ 2147483646 w 351"/>
                  <a:gd name="T69" fmla="*/ 2147483646 h 406"/>
                  <a:gd name="T70" fmla="*/ 2147483646 w 351"/>
                  <a:gd name="T71" fmla="*/ 2147483646 h 406"/>
                  <a:gd name="T72" fmla="*/ 2147483646 w 351"/>
                  <a:gd name="T73" fmla="*/ 2147483646 h 406"/>
                  <a:gd name="T74" fmla="*/ 2147483646 w 351"/>
                  <a:gd name="T75" fmla="*/ 2147483646 h 406"/>
                  <a:gd name="T76" fmla="*/ 2147483646 w 351"/>
                  <a:gd name="T77" fmla="*/ 2147483646 h 406"/>
                  <a:gd name="T78" fmla="*/ 2147483646 w 351"/>
                  <a:gd name="T79" fmla="*/ 2147483646 h 406"/>
                  <a:gd name="T80" fmla="*/ 2147483646 w 351"/>
                  <a:gd name="T81" fmla="*/ 2147483646 h 406"/>
                  <a:gd name="T82" fmla="*/ 2147483646 w 351"/>
                  <a:gd name="T83" fmla="*/ 2147483646 h 406"/>
                  <a:gd name="T84" fmla="*/ 2147483646 w 351"/>
                  <a:gd name="T85" fmla="*/ 2147483646 h 406"/>
                  <a:gd name="T86" fmla="*/ 2147483646 w 351"/>
                  <a:gd name="T87" fmla="*/ 2147483646 h 406"/>
                  <a:gd name="T88" fmla="*/ 2147483646 w 351"/>
                  <a:gd name="T89" fmla="*/ 2147483646 h 406"/>
                  <a:gd name="T90" fmla="*/ 2147483646 w 351"/>
                  <a:gd name="T91" fmla="*/ 2147483646 h 406"/>
                  <a:gd name="T92" fmla="*/ 2147483646 w 351"/>
                  <a:gd name="T93" fmla="*/ 0 h 406"/>
                  <a:gd name="T94" fmla="*/ 2147483646 w 351"/>
                  <a:gd name="T95" fmla="*/ 2147483646 h 406"/>
                  <a:gd name="T96" fmla="*/ 2147483646 w 351"/>
                  <a:gd name="T97" fmla="*/ 2147483646 h 406"/>
                  <a:gd name="T98" fmla="*/ 2147483646 w 351"/>
                  <a:gd name="T99" fmla="*/ 2147483646 h 40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351" h="406">
                    <a:moveTo>
                      <a:pt x="321" y="87"/>
                    </a:moveTo>
                    <a:lnTo>
                      <a:pt x="323" y="95"/>
                    </a:lnTo>
                    <a:lnTo>
                      <a:pt x="331" y="108"/>
                    </a:lnTo>
                    <a:lnTo>
                      <a:pt x="335" y="128"/>
                    </a:lnTo>
                    <a:lnTo>
                      <a:pt x="335" y="147"/>
                    </a:lnTo>
                    <a:lnTo>
                      <a:pt x="342" y="157"/>
                    </a:lnTo>
                    <a:lnTo>
                      <a:pt x="349" y="165"/>
                    </a:lnTo>
                    <a:lnTo>
                      <a:pt x="351" y="189"/>
                    </a:lnTo>
                    <a:lnTo>
                      <a:pt x="351" y="215"/>
                    </a:lnTo>
                    <a:lnTo>
                      <a:pt x="345" y="227"/>
                    </a:lnTo>
                    <a:lnTo>
                      <a:pt x="329" y="235"/>
                    </a:lnTo>
                    <a:lnTo>
                      <a:pt x="311" y="243"/>
                    </a:lnTo>
                    <a:lnTo>
                      <a:pt x="306" y="253"/>
                    </a:lnTo>
                    <a:lnTo>
                      <a:pt x="304" y="268"/>
                    </a:lnTo>
                    <a:lnTo>
                      <a:pt x="301" y="318"/>
                    </a:lnTo>
                    <a:lnTo>
                      <a:pt x="293" y="367"/>
                    </a:lnTo>
                    <a:lnTo>
                      <a:pt x="283" y="392"/>
                    </a:lnTo>
                    <a:lnTo>
                      <a:pt x="275" y="406"/>
                    </a:lnTo>
                    <a:lnTo>
                      <a:pt x="267" y="393"/>
                    </a:lnTo>
                    <a:lnTo>
                      <a:pt x="258" y="380"/>
                    </a:lnTo>
                    <a:lnTo>
                      <a:pt x="250" y="366"/>
                    </a:lnTo>
                    <a:lnTo>
                      <a:pt x="238" y="346"/>
                    </a:lnTo>
                    <a:lnTo>
                      <a:pt x="223" y="341"/>
                    </a:lnTo>
                    <a:lnTo>
                      <a:pt x="209" y="347"/>
                    </a:lnTo>
                    <a:lnTo>
                      <a:pt x="196" y="354"/>
                    </a:lnTo>
                    <a:lnTo>
                      <a:pt x="189" y="358"/>
                    </a:lnTo>
                    <a:lnTo>
                      <a:pt x="180" y="365"/>
                    </a:lnTo>
                    <a:lnTo>
                      <a:pt x="173" y="372"/>
                    </a:lnTo>
                    <a:lnTo>
                      <a:pt x="171" y="378"/>
                    </a:lnTo>
                    <a:lnTo>
                      <a:pt x="166" y="378"/>
                    </a:lnTo>
                    <a:lnTo>
                      <a:pt x="162" y="378"/>
                    </a:lnTo>
                    <a:lnTo>
                      <a:pt x="153" y="379"/>
                    </a:lnTo>
                    <a:lnTo>
                      <a:pt x="143" y="381"/>
                    </a:lnTo>
                    <a:lnTo>
                      <a:pt x="136" y="385"/>
                    </a:lnTo>
                    <a:lnTo>
                      <a:pt x="128" y="386"/>
                    </a:lnTo>
                    <a:lnTo>
                      <a:pt x="121" y="388"/>
                    </a:lnTo>
                    <a:lnTo>
                      <a:pt x="117" y="389"/>
                    </a:lnTo>
                    <a:lnTo>
                      <a:pt x="114" y="390"/>
                    </a:lnTo>
                    <a:lnTo>
                      <a:pt x="105" y="390"/>
                    </a:lnTo>
                    <a:lnTo>
                      <a:pt x="96" y="389"/>
                    </a:lnTo>
                    <a:lnTo>
                      <a:pt x="90" y="381"/>
                    </a:lnTo>
                    <a:lnTo>
                      <a:pt x="86" y="375"/>
                    </a:lnTo>
                    <a:lnTo>
                      <a:pt x="77" y="378"/>
                    </a:lnTo>
                    <a:lnTo>
                      <a:pt x="70" y="386"/>
                    </a:lnTo>
                    <a:lnTo>
                      <a:pt x="64" y="390"/>
                    </a:lnTo>
                    <a:lnTo>
                      <a:pt x="52" y="396"/>
                    </a:lnTo>
                    <a:lnTo>
                      <a:pt x="47" y="401"/>
                    </a:lnTo>
                    <a:lnTo>
                      <a:pt x="44" y="399"/>
                    </a:lnTo>
                    <a:lnTo>
                      <a:pt x="37" y="396"/>
                    </a:lnTo>
                    <a:lnTo>
                      <a:pt x="30" y="394"/>
                    </a:lnTo>
                    <a:lnTo>
                      <a:pt x="24" y="393"/>
                    </a:lnTo>
                    <a:lnTo>
                      <a:pt x="15" y="386"/>
                    </a:lnTo>
                    <a:lnTo>
                      <a:pt x="6" y="368"/>
                    </a:lnTo>
                    <a:lnTo>
                      <a:pt x="9" y="355"/>
                    </a:lnTo>
                    <a:lnTo>
                      <a:pt x="18" y="345"/>
                    </a:lnTo>
                    <a:lnTo>
                      <a:pt x="27" y="340"/>
                    </a:lnTo>
                    <a:lnTo>
                      <a:pt x="32" y="336"/>
                    </a:lnTo>
                    <a:lnTo>
                      <a:pt x="38" y="325"/>
                    </a:lnTo>
                    <a:lnTo>
                      <a:pt x="30" y="304"/>
                    </a:lnTo>
                    <a:lnTo>
                      <a:pt x="18" y="283"/>
                    </a:lnTo>
                    <a:lnTo>
                      <a:pt x="23" y="276"/>
                    </a:lnTo>
                    <a:lnTo>
                      <a:pt x="25" y="268"/>
                    </a:lnTo>
                    <a:lnTo>
                      <a:pt x="25" y="259"/>
                    </a:lnTo>
                    <a:lnTo>
                      <a:pt x="26" y="254"/>
                    </a:lnTo>
                    <a:lnTo>
                      <a:pt x="26" y="252"/>
                    </a:lnTo>
                    <a:lnTo>
                      <a:pt x="29" y="245"/>
                    </a:lnTo>
                    <a:lnTo>
                      <a:pt x="25" y="235"/>
                    </a:lnTo>
                    <a:lnTo>
                      <a:pt x="22" y="225"/>
                    </a:lnTo>
                    <a:lnTo>
                      <a:pt x="18" y="217"/>
                    </a:lnTo>
                    <a:lnTo>
                      <a:pt x="15" y="211"/>
                    </a:lnTo>
                    <a:lnTo>
                      <a:pt x="12" y="206"/>
                    </a:lnTo>
                    <a:lnTo>
                      <a:pt x="9" y="196"/>
                    </a:lnTo>
                    <a:lnTo>
                      <a:pt x="5" y="184"/>
                    </a:lnTo>
                    <a:lnTo>
                      <a:pt x="3" y="179"/>
                    </a:lnTo>
                    <a:lnTo>
                      <a:pt x="3" y="178"/>
                    </a:lnTo>
                    <a:lnTo>
                      <a:pt x="6" y="177"/>
                    </a:lnTo>
                    <a:lnTo>
                      <a:pt x="11" y="172"/>
                    </a:lnTo>
                    <a:lnTo>
                      <a:pt x="6" y="156"/>
                    </a:lnTo>
                    <a:lnTo>
                      <a:pt x="0" y="135"/>
                    </a:lnTo>
                    <a:lnTo>
                      <a:pt x="5" y="121"/>
                    </a:lnTo>
                    <a:lnTo>
                      <a:pt x="15" y="102"/>
                    </a:lnTo>
                    <a:lnTo>
                      <a:pt x="24" y="86"/>
                    </a:lnTo>
                    <a:lnTo>
                      <a:pt x="36" y="81"/>
                    </a:lnTo>
                    <a:lnTo>
                      <a:pt x="52" y="93"/>
                    </a:lnTo>
                    <a:lnTo>
                      <a:pt x="66" y="105"/>
                    </a:lnTo>
                    <a:lnTo>
                      <a:pt x="82" y="94"/>
                    </a:lnTo>
                    <a:lnTo>
                      <a:pt x="95" y="77"/>
                    </a:lnTo>
                    <a:lnTo>
                      <a:pt x="102" y="67"/>
                    </a:lnTo>
                    <a:lnTo>
                      <a:pt x="125" y="54"/>
                    </a:lnTo>
                    <a:lnTo>
                      <a:pt x="155" y="49"/>
                    </a:lnTo>
                    <a:lnTo>
                      <a:pt x="166" y="51"/>
                    </a:lnTo>
                    <a:lnTo>
                      <a:pt x="173" y="40"/>
                    </a:lnTo>
                    <a:lnTo>
                      <a:pt x="181" y="17"/>
                    </a:lnTo>
                    <a:lnTo>
                      <a:pt x="187" y="0"/>
                    </a:lnTo>
                    <a:lnTo>
                      <a:pt x="196" y="4"/>
                    </a:lnTo>
                    <a:lnTo>
                      <a:pt x="216" y="18"/>
                    </a:lnTo>
                    <a:lnTo>
                      <a:pt x="256" y="49"/>
                    </a:lnTo>
                    <a:lnTo>
                      <a:pt x="293" y="79"/>
                    </a:lnTo>
                    <a:lnTo>
                      <a:pt x="313" y="86"/>
                    </a:lnTo>
                    <a:lnTo>
                      <a:pt x="321" y="87"/>
                    </a:lnTo>
                    <a:close/>
                  </a:path>
                </a:pathLst>
              </a:custGeom>
              <a:solidFill>
                <a:srgbClr val="CCCCCC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8466" name="Rectangle 30"/>
            <p:cNvSpPr>
              <a:spLocks noChangeArrowheads="1"/>
            </p:cNvSpPr>
            <p:nvPr/>
          </p:nvSpPr>
          <p:spPr bwMode="auto">
            <a:xfrm>
              <a:off x="5767006" y="4972200"/>
              <a:ext cx="481" cy="8555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ts val="600"/>
                </a:spcBef>
                <a:buClr>
                  <a:schemeClr val="accent2"/>
                </a:buClr>
                <a:buSzPct val="76000"/>
                <a:buFont typeface="Wingdings 3" panose="05040102010807070707" pitchFamily="18" charset="2"/>
                <a:buChar char="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Mincho"/>
                  <a:cs typeface="Arial" panose="020B0604020202020204" pitchFamily="34" charset="0"/>
                </a:defRPr>
              </a:lvl1pPr>
              <a:lvl2pPr marL="547688" indent="-273050">
                <a:spcBef>
                  <a:spcPts val="500"/>
                </a:spcBef>
                <a:buClr>
                  <a:schemeClr val="accent2"/>
                </a:buClr>
                <a:buSzPct val="100000"/>
                <a:buFont typeface="Lucida Grande"/>
                <a:buChar char="-"/>
                <a:defRPr sz="2400">
                  <a:solidFill>
                    <a:schemeClr val="accent2"/>
                  </a:solidFill>
                  <a:latin typeface="Arial" panose="020B0604020202020204" pitchFamily="34" charset="0"/>
                  <a:ea typeface="MS PMincho"/>
                  <a:cs typeface="Arial" panose="020B0604020202020204" pitchFamily="34" charset="0"/>
                </a:defRPr>
              </a:lvl2pPr>
              <a:lvl3pPr marL="822325" indent="-228600">
                <a:spcBef>
                  <a:spcPts val="500"/>
                </a:spcBef>
                <a:buClr>
                  <a:srgbClr val="0084B4"/>
                </a:buClr>
                <a:buSzPct val="76000"/>
                <a:buFont typeface="Wingdings 3" panose="05040102010807070707" pitchFamily="18" charset="2"/>
                <a:buChar char=""/>
                <a:defRPr sz="2000">
                  <a:solidFill>
                    <a:srgbClr val="0084B4"/>
                  </a:solidFill>
                  <a:latin typeface="Arial" panose="020B0604020202020204" pitchFamily="34" charset="0"/>
                  <a:ea typeface="MS PMincho"/>
                  <a:cs typeface="Arial" panose="020B0604020202020204" pitchFamily="34" charset="0"/>
                </a:defRPr>
              </a:lvl3pPr>
              <a:lvl4pPr marL="1096963" indent="-228600">
                <a:spcBef>
                  <a:spcPts val="400"/>
                </a:spcBef>
                <a:buClr>
                  <a:srgbClr val="23A900"/>
                </a:buClr>
                <a:buSzPct val="70000"/>
                <a:buFont typeface="Wingdings" panose="05000000000000000000" pitchFamily="2" charset="2"/>
                <a:buChar char="§"/>
                <a:defRPr sz="2000">
                  <a:solidFill>
                    <a:schemeClr val="accent1"/>
                  </a:solidFill>
                  <a:latin typeface="Calibri" panose="020F0502020204030204" pitchFamily="34" charset="0"/>
                  <a:ea typeface="MS PMincho"/>
                  <a:cs typeface="MS PMincho"/>
                </a:defRPr>
              </a:lvl4pPr>
              <a:lvl5pPr marL="1371600" indent="-228600">
                <a:spcBef>
                  <a:spcPts val="300"/>
                </a:spcBef>
                <a:buClr>
                  <a:schemeClr val="accent1"/>
                </a:buClr>
                <a:buSzPct val="70000"/>
                <a:buFont typeface="Wingdings" panose="05000000000000000000" pitchFamily="2" charset="2"/>
                <a:buChar char="§"/>
                <a:defRPr sz="1600">
                  <a:solidFill>
                    <a:schemeClr val="accent1"/>
                  </a:solidFill>
                  <a:latin typeface="Calibri" panose="020F0502020204030204" pitchFamily="34" charset="0"/>
                  <a:ea typeface="MS PMincho"/>
                  <a:cs typeface="MS PMincho"/>
                </a:defRPr>
              </a:lvl5pPr>
              <a:lvl6pPr marL="1828800" indent="-228600" eaLnBrk="0" fontAlgn="base" hangingPunct="0"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70000"/>
                <a:buFont typeface="Wingdings" panose="05000000000000000000" pitchFamily="2" charset="2"/>
                <a:buChar char="§"/>
                <a:defRPr sz="1600">
                  <a:solidFill>
                    <a:schemeClr val="accent1"/>
                  </a:solidFill>
                  <a:latin typeface="Calibri" panose="020F0502020204030204" pitchFamily="34" charset="0"/>
                  <a:ea typeface="MS PMincho"/>
                  <a:cs typeface="MS PMincho"/>
                </a:defRPr>
              </a:lvl6pPr>
              <a:lvl7pPr marL="2286000" indent="-228600" eaLnBrk="0" fontAlgn="base" hangingPunct="0"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70000"/>
                <a:buFont typeface="Wingdings" panose="05000000000000000000" pitchFamily="2" charset="2"/>
                <a:buChar char="§"/>
                <a:defRPr sz="1600">
                  <a:solidFill>
                    <a:schemeClr val="accent1"/>
                  </a:solidFill>
                  <a:latin typeface="Calibri" panose="020F0502020204030204" pitchFamily="34" charset="0"/>
                  <a:ea typeface="MS PMincho"/>
                  <a:cs typeface="MS PMincho"/>
                </a:defRPr>
              </a:lvl7pPr>
              <a:lvl8pPr marL="2743200" indent="-228600" eaLnBrk="0" fontAlgn="base" hangingPunct="0"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70000"/>
                <a:buFont typeface="Wingdings" panose="05000000000000000000" pitchFamily="2" charset="2"/>
                <a:buChar char="§"/>
                <a:defRPr sz="1600">
                  <a:solidFill>
                    <a:schemeClr val="accent1"/>
                  </a:solidFill>
                  <a:latin typeface="Calibri" panose="020F0502020204030204" pitchFamily="34" charset="0"/>
                  <a:ea typeface="MS PMincho"/>
                  <a:cs typeface="MS PMincho"/>
                </a:defRPr>
              </a:lvl8pPr>
              <a:lvl9pPr marL="3200400" indent="-228600" eaLnBrk="0" fontAlgn="base" hangingPunct="0">
                <a:spcBef>
                  <a:spcPts val="300"/>
                </a:spcBef>
                <a:spcAft>
                  <a:spcPct val="0"/>
                </a:spcAft>
                <a:buClr>
                  <a:schemeClr val="accent1"/>
                </a:buClr>
                <a:buSzPct val="70000"/>
                <a:buFont typeface="Wingdings" panose="05000000000000000000" pitchFamily="2" charset="2"/>
                <a:buChar char="§"/>
                <a:defRPr sz="1600">
                  <a:solidFill>
                    <a:schemeClr val="accent1"/>
                  </a:solidFill>
                  <a:latin typeface="Calibri" panose="020F0502020204030204" pitchFamily="34" charset="0"/>
                  <a:ea typeface="MS PMincho"/>
                  <a:cs typeface="MS PMincho"/>
                </a:defRPr>
              </a:lvl9pPr>
            </a:lstStyle>
            <a:p>
              <a:pPr algn="ctr">
                <a:spcBef>
                  <a:spcPct val="0"/>
                </a:spcBef>
                <a:buClrTx/>
                <a:buSzTx/>
                <a:buFontTx/>
                <a:buNone/>
              </a:pPr>
              <a:endParaRPr lang="en-US" altLang="en-US" sz="750">
                <a:solidFill>
                  <a:srgbClr val="575757"/>
                </a:solidFill>
                <a:latin typeface="Gill Sans MT" panose="020B0502020104020203" pitchFamily="34" charset="0"/>
              </a:endParaRPr>
            </a:p>
          </p:txBody>
        </p:sp>
      </p:grpSp>
      <p:pic>
        <p:nvPicPr>
          <p:cNvPr id="71" name="Picture 70" descr="C:\Users\User\Documents\RAB\RAB Advisor to DG\Logo\Prospectus_new RAB Logo.png">
            <a:extLst>
              <a:ext uri="{FF2B5EF4-FFF2-40B4-BE49-F238E27FC236}">
                <a16:creationId xmlns:a16="http://schemas.microsoft.com/office/drawing/2014/main" id="{5379A247-5585-486D-96F6-A6AD949B55FA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8424" y="20052"/>
            <a:ext cx="1933575" cy="1791467"/>
          </a:xfrm>
          <a:prstGeom prst="rect">
            <a:avLst/>
          </a:prstGeom>
          <a:noFill/>
          <a:ln>
            <a:noFill/>
          </a:ln>
        </p:spPr>
      </p:pic>
      <p:sp>
        <p:nvSpPr>
          <p:cNvPr id="72" name="TextBox 71">
            <a:extLst>
              <a:ext uri="{FF2B5EF4-FFF2-40B4-BE49-F238E27FC236}">
                <a16:creationId xmlns:a16="http://schemas.microsoft.com/office/drawing/2014/main" id="{7671AFC6-93C0-4DAB-8B2F-EE5C29CD11D6}"/>
              </a:ext>
            </a:extLst>
          </p:cNvPr>
          <p:cNvSpPr txBox="1"/>
          <p:nvPr/>
        </p:nvSpPr>
        <p:spPr>
          <a:xfrm>
            <a:off x="-11310" y="6101445"/>
            <a:ext cx="12192000" cy="762000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072867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8725" y="121999"/>
            <a:ext cx="8924925" cy="1325563"/>
          </a:xfrm>
        </p:spPr>
        <p:txBody>
          <a:bodyPr>
            <a:normAutofit fontScale="90000"/>
          </a:bodyPr>
          <a:lstStyle/>
          <a:p>
            <a:pPr algn="ctr"/>
            <a:br>
              <a:rPr lang="en-US" sz="40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</a:br>
            <a:r>
              <a:rPr lang="en-US" sz="40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Background of mushroom production in Rwanda</a:t>
            </a:r>
            <a:b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57726" y="1825625"/>
            <a:ext cx="6696074" cy="4351338"/>
          </a:xfrm>
        </p:spPr>
        <p:txBody>
          <a:bodyPr/>
          <a:lstStyle/>
          <a:p>
            <a:pPr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altLang="zh-CN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Wild Mushroom collection period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altLang="zh-CN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Traditional mushroom production period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altLang="zh-CN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Juncao</a:t>
            </a:r>
            <a:r>
              <a:rPr lang="en-US" altLang="zh-CN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Technology Promotion</a:t>
            </a:r>
            <a:endParaRPr lang="en-US" altLang="zh-CN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4350" indent="-514350">
              <a:lnSpc>
                <a:spcPct val="150000"/>
              </a:lnSpc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351C375-3CB0-43B4-ADA2-4468E537A8B4}"/>
              </a:ext>
            </a:extLst>
          </p:cNvPr>
          <p:cNvSpPr txBox="1"/>
          <p:nvPr/>
        </p:nvSpPr>
        <p:spPr>
          <a:xfrm>
            <a:off x="0" y="6115050"/>
            <a:ext cx="12192000" cy="762000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5" name="Picture 4" descr="C:\Users\User\Documents\RAB\RAB Advisor to DG\Logo\Prospectus_new RAB Logo.png">
            <a:extLst>
              <a:ext uri="{FF2B5EF4-FFF2-40B4-BE49-F238E27FC236}">
                <a16:creationId xmlns:a16="http://schemas.microsoft.com/office/drawing/2014/main" id="{4C9F5DBC-1A91-4957-8EAD-246D26D30CD3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8424" y="20052"/>
            <a:ext cx="1933575" cy="1791467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Content Placeholder 2">
            <a:extLst>
              <a:ext uri="{FF2B5EF4-FFF2-40B4-BE49-F238E27FC236}">
                <a16:creationId xmlns:a16="http://schemas.microsoft.com/office/drawing/2014/main" id="{8E7C47E7-F415-43B1-A4F0-DDFBFFBE97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775" y="1350169"/>
            <a:ext cx="3695700" cy="2078831"/>
          </a:xfrm>
          <a:prstGeom prst="rect">
            <a:avLst/>
          </a:prstGeom>
        </p:spPr>
      </p:pic>
      <p:pic>
        <p:nvPicPr>
          <p:cNvPr id="7" name="Content Placeholder 6" descr="Picture1">
            <a:extLst>
              <a:ext uri="{FF2B5EF4-FFF2-40B4-BE49-F238E27FC236}">
                <a16:creationId xmlns:a16="http://schemas.microsoft.com/office/drawing/2014/main" id="{805CB099-26AC-4D27-93DA-ECB59019BA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774" y="3453368"/>
            <a:ext cx="3695699" cy="2665174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001125" cy="767080"/>
          </a:xfrm>
        </p:spPr>
        <p:txBody>
          <a:bodyPr>
            <a:noAutofit/>
          </a:bodyPr>
          <a:lstStyle/>
          <a:p>
            <a:pPr algn="ctr"/>
            <a:r>
              <a:rPr lang="en-US" sz="36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duction and Promotion of </a:t>
            </a:r>
            <a:r>
              <a:rPr lang="en-US" sz="3600" b="1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ncao</a:t>
            </a:r>
            <a:r>
              <a:rPr lang="en-US" sz="36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chnology in Rwanda</a:t>
            </a:r>
            <a:endParaRPr lang="en-US" sz="3600" b="1" dirty="0">
              <a:solidFill>
                <a:schemeClr val="accent1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3908425" y="1890286"/>
            <a:ext cx="8031162" cy="4464050"/>
          </a:xfrm>
        </p:spPr>
        <p:txBody>
          <a:bodyPr>
            <a:normAutofit fontScale="97500"/>
          </a:bodyPr>
          <a:lstStyle/>
          <a:p>
            <a:pPr algn="just">
              <a:buFont typeface="Wingdings" panose="05000000000000000000" pitchFamily="2" charset="2"/>
              <a:buChar char="q"/>
            </a:pPr>
            <a:r>
              <a:rPr lang="en-US" sz="2900" dirty="0" err="1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J</a:t>
            </a:r>
            <a:r>
              <a:rPr lang="en-US" sz="2900" dirty="0" err="1">
                <a:effectLst/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uncao</a:t>
            </a:r>
            <a:r>
              <a:rPr lang="en-US" sz="2900" dirty="0">
                <a:effectLst/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technology was agreed to be adopted in Rwanda in 2006 through the bilateral cooperation between the People's Republic of China and the Republic of Rwanda: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altLang="zh-CN" sz="25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To replace the traditional mushroom production approach 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n-US" altLang="zh-CN" sz="25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To </a:t>
            </a:r>
            <a:r>
              <a:rPr lang="en-US" altLang="zh-CN" sz="2500" dirty="0" err="1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modernise</a:t>
            </a:r>
            <a:r>
              <a:rPr lang="en-US" altLang="zh-CN" sz="25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the mushroom industry in Rwanda</a:t>
            </a:r>
            <a:endParaRPr lang="en-US" sz="2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Content Placeholder 4" descr="Picture2"/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0" y="3178650"/>
            <a:ext cx="3908425" cy="2931319"/>
          </a:xfrm>
          <a:prstGeom prst="rect">
            <a:avLst/>
          </a:prstGeom>
        </p:spPr>
      </p:pic>
      <p:pic>
        <p:nvPicPr>
          <p:cNvPr id="7" name="Picture 6" descr="C:\Users\User\Documents\RAB\RAB Advisor to DG\Logo\Prospectus_new RAB Logo.png">
            <a:extLst>
              <a:ext uri="{FF2B5EF4-FFF2-40B4-BE49-F238E27FC236}">
                <a16:creationId xmlns:a16="http://schemas.microsoft.com/office/drawing/2014/main" id="{6975FBBC-403D-44D4-A59F-A75DAB02AA7F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8599" y="98819"/>
            <a:ext cx="1933575" cy="1791467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FF4FCC8-8F1D-4772-9FD6-72BD6D08B089}"/>
              </a:ext>
            </a:extLst>
          </p:cNvPr>
          <p:cNvSpPr txBox="1"/>
          <p:nvPr/>
        </p:nvSpPr>
        <p:spPr>
          <a:xfrm>
            <a:off x="0" y="6109970"/>
            <a:ext cx="12192000" cy="762000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2F1FE2F-623F-4E10-ACAF-245A9FAF935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6319"/>
          <a:stretch/>
        </p:blipFill>
        <p:spPr>
          <a:xfrm>
            <a:off x="0" y="1300532"/>
            <a:ext cx="3908425" cy="1839708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001125" cy="767080"/>
          </a:xfrm>
        </p:spPr>
        <p:txBody>
          <a:bodyPr>
            <a:noAutofit/>
          </a:bodyPr>
          <a:lstStyle/>
          <a:p>
            <a:pPr algn="ctr"/>
            <a:r>
              <a:rPr lang="en-US" sz="32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duction and Promotion of </a:t>
            </a:r>
            <a:r>
              <a:rPr lang="en-US" sz="3200" b="1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ncao</a:t>
            </a:r>
            <a:r>
              <a:rPr lang="en-US" sz="32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chnology in Rwanda- key achievements</a:t>
            </a:r>
            <a:endParaRPr lang="en-US" sz="3200" b="1" dirty="0">
              <a:solidFill>
                <a:schemeClr val="accent1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324465" y="1890286"/>
            <a:ext cx="11615122" cy="4464050"/>
          </a:xfrm>
        </p:spPr>
        <p:txBody>
          <a:bodyPr>
            <a:normAutofit fontScale="97500"/>
          </a:bodyPr>
          <a:lstStyle/>
          <a:p>
            <a:pPr lvl="0" algn="just">
              <a:buFont typeface="Wingdings" panose="05000000000000000000" pitchFamily="2" charset="2"/>
              <a:buChar char="q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12 mushroom varieties were introduced</a:t>
            </a:r>
          </a:p>
          <a:p>
            <a:pPr lvl="0" algn="just">
              <a:buFont typeface="Wingdings" panose="05000000000000000000" pitchFamily="2" charset="2"/>
              <a:buChar char="q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urrently one mushroom variety (</a:t>
            </a:r>
            <a:r>
              <a:rPr lang="en-US" i="1" dirty="0">
                <a:latin typeface="Arial" panose="020B0604020202020204" pitchFamily="34" charset="0"/>
                <a:cs typeface="Arial" panose="020B0604020202020204" pitchFamily="34" charset="0"/>
              </a:rPr>
              <a:t>Oyster </a:t>
            </a:r>
            <a:r>
              <a:rPr lang="en-US" i="1" dirty="0" err="1">
                <a:latin typeface="Arial" panose="020B0604020202020204" pitchFamily="34" charset="0"/>
                <a:cs typeface="Arial" panose="020B0604020202020204" pitchFamily="34" charset="0"/>
              </a:rPr>
              <a:t>ostreatus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) is common and successfully adopted</a:t>
            </a:r>
          </a:p>
          <a:p>
            <a:pPr lvl="0" algn="just">
              <a:buFont typeface="Wingdings" panose="05000000000000000000" pitchFamily="2" charset="2"/>
              <a:buChar char="q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4 different grass cultivars from China, are currently used in the production of mushroom substrates</a:t>
            </a:r>
          </a:p>
          <a:p>
            <a:pPr lvl="0" algn="just">
              <a:buFont typeface="Wingdings" panose="05000000000000000000" pitchFamily="2" charset="2"/>
              <a:buChar char="q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5 mushroom substrate formulations based on Nitrogen and Carbon balance were formulated and are currently used by mushroom tubes producers</a:t>
            </a:r>
          </a:p>
          <a:p>
            <a:pPr lvl="0" algn="just">
              <a:buFont typeface="Wingdings" panose="05000000000000000000" pitchFamily="2" charset="2"/>
              <a:buChar char="q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Awareness creation</a:t>
            </a:r>
          </a:p>
          <a:p>
            <a:pPr marL="0" indent="0" algn="just">
              <a:buNone/>
            </a:pPr>
            <a:endParaRPr lang="en-US" sz="2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 descr="C:\Users\User\Documents\RAB\RAB Advisor to DG\Logo\Prospectus_new RAB Logo.png">
            <a:extLst>
              <a:ext uri="{FF2B5EF4-FFF2-40B4-BE49-F238E27FC236}">
                <a16:creationId xmlns:a16="http://schemas.microsoft.com/office/drawing/2014/main" id="{6975FBBC-403D-44D4-A59F-A75DAB02AA7F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8599" y="98819"/>
            <a:ext cx="1933575" cy="1791467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FF4FCC8-8F1D-4772-9FD6-72BD6D08B089}"/>
              </a:ext>
            </a:extLst>
          </p:cNvPr>
          <p:cNvSpPr txBox="1"/>
          <p:nvPr/>
        </p:nvSpPr>
        <p:spPr>
          <a:xfrm>
            <a:off x="0" y="6109970"/>
            <a:ext cx="12192000" cy="762000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16402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2975" y="232726"/>
            <a:ext cx="9591676" cy="510223"/>
          </a:xfrm>
        </p:spPr>
        <p:txBody>
          <a:bodyPr>
            <a:normAutofit fontScale="90000"/>
          </a:bodyPr>
          <a:lstStyle/>
          <a:p>
            <a:pPr algn="ctr"/>
            <a:b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40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wareness creation for Promotion of </a:t>
            </a:r>
            <a:r>
              <a:rPr lang="en-US" sz="4000" b="1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ncao</a:t>
            </a:r>
            <a:r>
              <a:rPr lang="en-US" sz="40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chnology</a:t>
            </a:r>
            <a:endParaRPr lang="en-US" sz="4000" b="1" dirty="0">
              <a:solidFill>
                <a:schemeClr val="accent1"/>
              </a:solidFill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sz="half" idx="1"/>
          </p:nvPr>
        </p:nvPicPr>
        <p:blipFill>
          <a:blip r:embed="rId3"/>
          <a:stretch>
            <a:fillRect/>
          </a:stretch>
        </p:blipFill>
        <p:spPr>
          <a:xfrm>
            <a:off x="3504178" y="2930398"/>
            <a:ext cx="2591822" cy="338705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671" y="3494999"/>
            <a:ext cx="3448368" cy="2586557"/>
          </a:xfrm>
          <a:prstGeom prst="rect">
            <a:avLst/>
          </a:prstGeom>
        </p:spPr>
      </p:pic>
      <p:pic>
        <p:nvPicPr>
          <p:cNvPr id="10" name="Picture 9" descr="C:\Users\User\Documents\RAB\RAB Advisor to DG\Logo\Prospectus_new RAB Logo.png">
            <a:extLst>
              <a:ext uri="{FF2B5EF4-FFF2-40B4-BE49-F238E27FC236}">
                <a16:creationId xmlns:a16="http://schemas.microsoft.com/office/drawing/2014/main" id="{D4646C54-EF1E-4B3C-8B0C-9F9826C8FC24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1754" y="-76200"/>
            <a:ext cx="1933575" cy="1791467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578D4A9-1FFC-42C6-BAB0-0B46CD81A7E5}"/>
              </a:ext>
            </a:extLst>
          </p:cNvPr>
          <p:cNvSpPr txBox="1"/>
          <p:nvPr/>
        </p:nvSpPr>
        <p:spPr>
          <a:xfrm>
            <a:off x="0" y="6115050"/>
            <a:ext cx="12192000" cy="762000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3" name="AutoShape 2" descr="blob:https://web.whatsapp.com/3582f003-d248-43f2-abc8-c16703452586">
            <a:extLst>
              <a:ext uri="{FF2B5EF4-FFF2-40B4-BE49-F238E27FC236}">
                <a16:creationId xmlns:a16="http://schemas.microsoft.com/office/drawing/2014/main" id="{9D7D00BF-73A0-495E-8F07-2EC77BC5D34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416350D-05A1-4DAC-9E5F-F1A8411947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671" y="1223806"/>
            <a:ext cx="3448368" cy="229666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265CF68-3787-4E5D-9468-D9048423306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04178" y="1255877"/>
            <a:ext cx="2591822" cy="1726194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D7091345-F14A-4E09-ACCA-D8275426FB82}"/>
              </a:ext>
            </a:extLst>
          </p:cNvPr>
          <p:cNvSpPr txBox="1"/>
          <p:nvPr/>
        </p:nvSpPr>
        <p:spPr>
          <a:xfrm>
            <a:off x="6115139" y="3587086"/>
            <a:ext cx="5972085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Trainings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Visits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Talks: TVs, Radios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Leaflets, booklets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Agriculture shows</a:t>
            </a:r>
          </a:p>
        </p:txBody>
      </p:sp>
      <p:pic>
        <p:nvPicPr>
          <p:cNvPr id="20" name="图片 1" descr="NKLI(Z{SXL[%PZ)I27G7TL1">
            <a:extLst>
              <a:ext uri="{FF2B5EF4-FFF2-40B4-BE49-F238E27FC236}">
                <a16:creationId xmlns:a16="http://schemas.microsoft.com/office/drawing/2014/main" id="{B837C12D-DD55-486A-8BCF-557E49C1114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231"/>
          <a:stretch/>
        </p:blipFill>
        <p:spPr bwMode="auto">
          <a:xfrm>
            <a:off x="6099480" y="1255877"/>
            <a:ext cx="4378326" cy="2349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33474" y="253003"/>
            <a:ext cx="9124950" cy="1325563"/>
          </a:xfrm>
        </p:spPr>
        <p:txBody>
          <a:bodyPr>
            <a:normAutofit/>
          </a:bodyPr>
          <a:lstStyle/>
          <a:p>
            <a:r>
              <a:rPr lang="en-US" altLang="zh-CN" sz="3600" b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Juncao</a:t>
            </a:r>
            <a:r>
              <a:rPr lang="en-US" altLang="zh-CN" sz="36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technology adoption status </a:t>
            </a:r>
            <a:endParaRPr lang="en-US" sz="3600" b="1" dirty="0"/>
          </a:p>
        </p:txBody>
      </p:sp>
      <p:sp>
        <p:nvSpPr>
          <p:cNvPr id="21" name="Content Placeholder 20"/>
          <p:cNvSpPr>
            <a:spLocks noGrp="1"/>
          </p:cNvSpPr>
          <p:nvPr>
            <p:ph idx="1"/>
          </p:nvPr>
        </p:nvSpPr>
        <p:spPr>
          <a:xfrm>
            <a:off x="563204" y="1763712"/>
            <a:ext cx="11065592" cy="4351338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q"/>
            </a:pPr>
            <a:r>
              <a:rPr lang="en-US" altLang="zh-CN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There are 52 companies and 14 cooperatives involved in mushroom production</a:t>
            </a:r>
            <a:endParaRPr lang="en-US" dirty="0">
              <a:effectLst/>
              <a:latin typeface="Arial" panose="020B0604020202020204" pitchFamily="34" charset="0"/>
              <a:ea typeface="Calibri" panose="020F0502020204030204" charset="0"/>
              <a:cs typeface="Arial" panose="020B0604020202020204" pitchFamily="34" charset="0"/>
              <a:sym typeface="+mn-ea"/>
            </a:endParaRPr>
          </a:p>
          <a:p>
            <a:pPr>
              <a:buFont typeface="Wingdings" panose="05000000000000000000" pitchFamily="2" charset="2"/>
              <a:buChar char="q"/>
            </a:pPr>
            <a:r>
              <a:rPr lang="en-US" dirty="0">
                <a:effectLst/>
                <a:latin typeface="Arial" panose="020B0604020202020204" pitchFamily="34" charset="0"/>
                <a:ea typeface="Calibri" panose="020F0502020204030204" charset="0"/>
                <a:cs typeface="Arial" panose="020B0604020202020204" pitchFamily="34" charset="0"/>
                <a:sym typeface="+mn-ea"/>
              </a:rPr>
              <a:t>Around 38,000 individual farmers are involved in mushroom cultivation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>
                <a:effectLst/>
                <a:latin typeface="Arial" panose="020B0604020202020204" pitchFamily="34" charset="0"/>
                <a:ea typeface="Calibri" panose="020F0502020204030204" charset="0"/>
                <a:cs typeface="Arial" panose="020B0604020202020204" pitchFamily="34" charset="0"/>
                <a:sym typeface="+mn-ea"/>
              </a:rPr>
              <a:t>The mushroom production is estimated at 300 tons per year</a:t>
            </a:r>
            <a:endParaRPr lang="en-US" dirty="0">
              <a:solidFill>
                <a:srgbClr val="222222"/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q"/>
            </a:pPr>
            <a:r>
              <a:rPr lang="en-US" dirty="0">
                <a:solidFill>
                  <a:srgbClr val="222222"/>
                </a:solidFill>
                <a:latin typeface="Arial" panose="020B0604020202020204" pitchFamily="34" charset="0"/>
                <a:ea typeface="Calibri" panose="020F0502020204030204" charset="0"/>
                <a:cs typeface="Arial" panose="020B0604020202020204" pitchFamily="34" charset="0"/>
                <a:sym typeface="+mn-ea"/>
              </a:rPr>
              <a:t>More than 40,000 farmers have got training on mushroom production using </a:t>
            </a:r>
            <a:r>
              <a:rPr lang="en-US" dirty="0" err="1">
                <a:solidFill>
                  <a:srgbClr val="222222"/>
                </a:solidFill>
                <a:latin typeface="Arial" panose="020B0604020202020204" pitchFamily="34" charset="0"/>
                <a:ea typeface="Calibri" panose="020F0502020204030204" charset="0"/>
                <a:cs typeface="Arial" panose="020B0604020202020204" pitchFamily="34" charset="0"/>
                <a:sym typeface="+mn-ea"/>
              </a:rPr>
              <a:t>Juncao</a:t>
            </a:r>
            <a:r>
              <a:rPr lang="en-US" dirty="0">
                <a:solidFill>
                  <a:srgbClr val="222222"/>
                </a:solidFill>
                <a:latin typeface="Arial" panose="020B0604020202020204" pitchFamily="34" charset="0"/>
                <a:ea typeface="Calibri" panose="020F0502020204030204" charset="0"/>
                <a:cs typeface="Arial" panose="020B0604020202020204" pitchFamily="34" charset="0"/>
                <a:sym typeface="+mn-ea"/>
              </a:rPr>
              <a:t> technology</a:t>
            </a:r>
            <a:endParaRPr lang="en-US" dirty="0">
              <a:effectLst/>
              <a:latin typeface="Arial" panose="020B0604020202020204" pitchFamily="34" charset="0"/>
              <a:ea typeface="Calibri" panose="020F0502020204030204" charset="0"/>
              <a:cs typeface="Arial" panose="020B0604020202020204" pitchFamily="34" charset="0"/>
            </a:endParaRP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 descr="C:\Users\User\Documents\RAB\RAB Advisor to DG\Logo\Prospectus_new RAB Logo.png">
            <a:extLst>
              <a:ext uri="{FF2B5EF4-FFF2-40B4-BE49-F238E27FC236}">
                <a16:creationId xmlns:a16="http://schemas.microsoft.com/office/drawing/2014/main" id="{1B1083E8-65FE-4731-8DC7-DD0C3E8C5585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8424" y="20052"/>
            <a:ext cx="1933575" cy="179146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2E6F09F-DDFE-466E-B215-979D469715B3}"/>
              </a:ext>
            </a:extLst>
          </p:cNvPr>
          <p:cNvSpPr txBox="1"/>
          <p:nvPr/>
        </p:nvSpPr>
        <p:spPr>
          <a:xfrm>
            <a:off x="0" y="6115050"/>
            <a:ext cx="12192000" cy="762000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86125"/>
            <a:ext cx="9524999" cy="922892"/>
          </a:xfrm>
        </p:spPr>
        <p:txBody>
          <a:bodyPr>
            <a:noAutofit/>
          </a:bodyPr>
          <a:lstStyle/>
          <a:p>
            <a:pPr algn="ctr"/>
            <a:r>
              <a:rPr lang="en-US" altLang="zh-CN" sz="36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Income generation through </a:t>
            </a:r>
            <a:r>
              <a:rPr lang="en-US" altLang="zh-CN" sz="3600" b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Juncao</a:t>
            </a:r>
            <a:r>
              <a:rPr lang="en-US" altLang="zh-CN" sz="36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technology</a:t>
            </a:r>
            <a:endParaRPr lang="en-US" sz="3600" b="1" dirty="0"/>
          </a:p>
        </p:txBody>
      </p:sp>
      <p:pic>
        <p:nvPicPr>
          <p:cNvPr id="12" name="Content Placeholder 11"/>
          <p:cNvPicPr>
            <a:picLocks noGrp="1" noChangeAspect="1"/>
          </p:cNvPicPr>
          <p:nvPr>
            <p:ph sz="half" idx="1"/>
          </p:nvPr>
        </p:nvPicPr>
        <p:blipFill>
          <a:blip r:embed="rId2"/>
          <a:srcRect t="15614"/>
          <a:stretch>
            <a:fillRect/>
          </a:stretch>
        </p:blipFill>
        <p:spPr>
          <a:xfrm>
            <a:off x="3149124" y="1691215"/>
            <a:ext cx="2933701" cy="2132427"/>
          </a:xfrm>
          <a:prstGeom prst="rect">
            <a:avLst/>
          </a:prstGeom>
        </p:spPr>
      </p:pic>
      <p:pic>
        <p:nvPicPr>
          <p:cNvPr id="13" name="Content Placeholder 12"/>
          <p:cNvPicPr>
            <a:picLocks noGrp="1" noChangeAspect="1"/>
          </p:cNvPicPr>
          <p:nvPr>
            <p:ph sz="half" idx="2"/>
          </p:nvPr>
        </p:nvPicPr>
        <p:blipFill>
          <a:blip r:embed="rId3"/>
          <a:srcRect t="10054" b="22180"/>
          <a:stretch>
            <a:fillRect/>
          </a:stretch>
        </p:blipFill>
        <p:spPr>
          <a:xfrm>
            <a:off x="6509144" y="1672109"/>
            <a:ext cx="2016001" cy="182181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81157" y="1641989"/>
            <a:ext cx="1925832" cy="1968432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5"/>
          <a:srcRect t="11589"/>
          <a:stretch>
            <a:fillRect/>
          </a:stretch>
        </p:blipFill>
        <p:spPr>
          <a:xfrm>
            <a:off x="9602571" y="3610421"/>
            <a:ext cx="2368123" cy="2070416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68871" y="3674762"/>
            <a:ext cx="2933700" cy="1821815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35651" y="3724617"/>
            <a:ext cx="2291953" cy="172210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05367" y="3613472"/>
            <a:ext cx="2750185" cy="135763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26E10B27-FF47-49CA-BBD3-85B99F1BCDB3}"/>
              </a:ext>
            </a:extLst>
          </p:cNvPr>
          <p:cNvSpPr/>
          <p:nvPr/>
        </p:nvSpPr>
        <p:spPr>
          <a:xfrm>
            <a:off x="450792" y="1120321"/>
            <a:ext cx="331882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altLang="zh-CN" sz="2400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New businesses were generated </a:t>
            </a:r>
            <a:endParaRPr lang="en-US" sz="2400" dirty="0"/>
          </a:p>
        </p:txBody>
      </p:sp>
      <p:pic>
        <p:nvPicPr>
          <p:cNvPr id="19" name="Picture 18" descr="C:\Users\User\Documents\RAB\RAB Advisor to DG\Logo\Prospectus_new RAB Logo.png">
            <a:extLst>
              <a:ext uri="{FF2B5EF4-FFF2-40B4-BE49-F238E27FC236}">
                <a16:creationId xmlns:a16="http://schemas.microsoft.com/office/drawing/2014/main" id="{5566006A-CCB7-4858-B518-73603C91CB85}"/>
              </a:ext>
            </a:extLst>
          </p:cNvPr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3225" y="20053"/>
            <a:ext cx="1628774" cy="1579336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FEF9096E-FCD7-4E13-9435-57FF368F9B20}"/>
              </a:ext>
            </a:extLst>
          </p:cNvPr>
          <p:cNvSpPr txBox="1"/>
          <p:nvPr/>
        </p:nvSpPr>
        <p:spPr>
          <a:xfrm>
            <a:off x="0" y="6115050"/>
            <a:ext cx="12192000" cy="762000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1575" y="365126"/>
            <a:ext cx="8542696" cy="577850"/>
          </a:xfrm>
        </p:spPr>
        <p:txBody>
          <a:bodyPr>
            <a:noAutofit/>
          </a:bodyPr>
          <a:lstStyle/>
          <a:p>
            <a:r>
              <a:rPr lang="en-US" altLang="zh-CN" sz="36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Contribution of </a:t>
            </a:r>
            <a:r>
              <a:rPr lang="en-US" altLang="zh-CN" sz="3600" b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Juncao</a:t>
            </a:r>
            <a:r>
              <a:rPr lang="en-US" altLang="zh-CN" sz="36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Technology</a:t>
            </a:r>
            <a:endParaRPr lang="en-US" altLang="zh-CN" sz="36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66038" y="1273109"/>
            <a:ext cx="7001655" cy="4109695"/>
          </a:xfrm>
        </p:spPr>
        <p:txBody>
          <a:bodyPr>
            <a:noAutofit/>
          </a:bodyPr>
          <a:lstStyle/>
          <a:p>
            <a:pPr lvl="1" algn="just">
              <a:lnSpc>
                <a:spcPct val="100000"/>
              </a:lnSpc>
              <a:buFont typeface="Wingdings" panose="05000000000000000000" pitchFamily="2" charset="2"/>
              <a:buChar char="q"/>
            </a:pP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 Food security</a:t>
            </a:r>
          </a:p>
          <a:p>
            <a:pPr lvl="1" algn="just">
              <a:lnSpc>
                <a:spcPct val="100000"/>
              </a:lnSpc>
              <a:buFont typeface="Wingdings" panose="05000000000000000000" pitchFamily="2" charset="2"/>
              <a:buChar char="q"/>
            </a:pP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 Reduction of malnution </a:t>
            </a:r>
          </a:p>
          <a:p>
            <a:pPr lvl="1" algn="just">
              <a:lnSpc>
                <a:spcPct val="100000"/>
              </a:lnSpc>
              <a:buFont typeface="Wingdings" panose="05000000000000000000" pitchFamily="2" charset="2"/>
              <a:buChar char="q"/>
            </a:pP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 Reduction of poverty</a:t>
            </a:r>
            <a:endParaRPr lang="en-US" altLang="zh-CN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 algn="just">
              <a:lnSpc>
                <a:spcPct val="100000"/>
              </a:lnSpc>
              <a:buFont typeface="Wingdings" panose="05000000000000000000" pitchFamily="2" charset="2"/>
              <a:buChar char="q"/>
            </a:pP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 Increase of income to afford medical insurance, school fees, and other family needs</a:t>
            </a:r>
            <a:endParaRPr lang="en-US" altLang="zh-CN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 algn="just">
              <a:lnSpc>
                <a:spcPct val="100000"/>
              </a:lnSpc>
              <a:buFont typeface="Wingdings" panose="05000000000000000000" pitchFamily="2" charset="2"/>
              <a:buChar char="q"/>
            </a:pP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 Job creation</a:t>
            </a:r>
          </a:p>
          <a:p>
            <a:pPr lvl="1" algn="just">
              <a:lnSpc>
                <a:spcPct val="100000"/>
              </a:lnSpc>
              <a:buFont typeface="Wingdings" panose="05000000000000000000" pitchFamily="2" charset="2"/>
              <a:buChar char="q"/>
            </a:pPr>
            <a:r>
              <a:rPr lang="en-US" altLang="zh-CN" sz="28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 Income generation</a:t>
            </a:r>
            <a:endParaRPr lang="en-US" altLang="zh-CN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Picture 3" descr="C:\Users\User\Documents\RAB\RAB Advisor to DG\Logo\Prospectus_new RAB Logo.png">
            <a:extLst>
              <a:ext uri="{FF2B5EF4-FFF2-40B4-BE49-F238E27FC236}">
                <a16:creationId xmlns:a16="http://schemas.microsoft.com/office/drawing/2014/main" id="{91694E44-BEF8-4E65-9D2B-CAF6AEF6FF5C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67925" y="30389"/>
            <a:ext cx="2124075" cy="1714273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55FB0BC-D278-48D4-AA0B-DC203C030714}"/>
              </a:ext>
            </a:extLst>
          </p:cNvPr>
          <p:cNvSpPr txBox="1"/>
          <p:nvPr/>
        </p:nvSpPr>
        <p:spPr>
          <a:xfrm>
            <a:off x="0" y="6096000"/>
            <a:ext cx="12192000" cy="762000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66BE64D-607E-4B15-B2CE-6B85AA450B0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2330"/>
          <a:stretch/>
        </p:blipFill>
        <p:spPr>
          <a:xfrm>
            <a:off x="135962" y="955297"/>
            <a:ext cx="3209912" cy="5002912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10</TotalTime>
  <Words>562</Words>
  <Application>Microsoft Office PowerPoint</Application>
  <PresentationFormat>Widescreen</PresentationFormat>
  <Paragraphs>87</Paragraphs>
  <Slides>14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5" baseType="lpstr">
      <vt:lpstr>DengXian</vt:lpstr>
      <vt:lpstr>DengXian Light</vt:lpstr>
      <vt:lpstr>MS PMincho</vt:lpstr>
      <vt:lpstr>Arial</vt:lpstr>
      <vt:lpstr>Calibri</vt:lpstr>
      <vt:lpstr>Calibri Light</vt:lpstr>
      <vt:lpstr>Gill Sans MT</vt:lpstr>
      <vt:lpstr>Times New Roman</vt:lpstr>
      <vt:lpstr>Trebuchet MS</vt:lpstr>
      <vt:lpstr>Wingdings</vt:lpstr>
      <vt:lpstr>Office Theme</vt:lpstr>
      <vt:lpstr>Mushroom Production through Juncao Technology and its Contribution to Livelihoods Improvement  in Rwanda </vt:lpstr>
      <vt:lpstr>PowerPoint Presentation</vt:lpstr>
      <vt:lpstr> Background of mushroom production in Rwanda </vt:lpstr>
      <vt:lpstr>Introduction and Promotion of Juncao Technology in Rwanda</vt:lpstr>
      <vt:lpstr>Introduction and Promotion of Juncao Technology in Rwanda- key achievements</vt:lpstr>
      <vt:lpstr> Awareness creation for Promotion of Juncao Technology</vt:lpstr>
      <vt:lpstr>Juncao technology adoption status </vt:lpstr>
      <vt:lpstr>Income generation through Juncao technology</vt:lpstr>
      <vt:lpstr>Contribution of Juncao Technology</vt:lpstr>
      <vt:lpstr>Challenges in mushroom production</vt:lpstr>
      <vt:lpstr>Ongoing and future research and extension activities in mushroom production</vt:lpstr>
      <vt:lpstr>Key expected outputs of mushroom production in Rwanda</vt:lpstr>
      <vt:lpstr>Acknowledgement</vt:lpstr>
      <vt:lpstr> THANK YOU FOR YOUR ATTENTION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verview of Mushroom industry in Rwanda</dc:title>
  <dc:creator>user</dc:creator>
  <cp:lastModifiedBy>Uzayisenga B</cp:lastModifiedBy>
  <cp:revision>52</cp:revision>
  <dcterms:created xsi:type="dcterms:W3CDTF">2022-08-29T12:54:00Z</dcterms:created>
  <dcterms:modified xsi:type="dcterms:W3CDTF">2023-12-12T16:21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28620749C6404118B6154D1D493B576F</vt:lpwstr>
  </property>
  <property fmtid="{D5CDD505-2E9C-101B-9397-08002B2CF9AE}" pid="3" name="KSOProductBuildVer">
    <vt:lpwstr>1033-11.2.0.11254</vt:lpwstr>
  </property>
</Properties>
</file>